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57" r:id="rId4"/>
    <p:sldMasterId id="2147483724" r:id="rId5"/>
  </p:sldMasterIdLst>
  <p:notesMasterIdLst>
    <p:notesMasterId r:id="rId19"/>
  </p:notesMasterIdLst>
  <p:sldIdLst>
    <p:sldId id="306" r:id="rId6"/>
    <p:sldId id="279" r:id="rId7"/>
    <p:sldId id="266" r:id="rId8"/>
    <p:sldId id="267" r:id="rId9"/>
    <p:sldId id="268" r:id="rId10"/>
    <p:sldId id="269" r:id="rId11"/>
    <p:sldId id="271" r:id="rId12"/>
    <p:sldId id="272" r:id="rId13"/>
    <p:sldId id="273" r:id="rId14"/>
    <p:sldId id="274" r:id="rId15"/>
    <p:sldId id="275" r:id="rId16"/>
    <p:sldId id="276" r:id="rId17"/>
    <p:sldId id="277" r:id="rId1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81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2FAE503-74F6-4E3F-9971-14A0749ACE05}" v="1" dt="2022-06-25T15:02:05.403"/>
    <p1510:client id="{99F631C4-CFFB-4ADA-B127-292A44A46693}" v="4" dt="2022-07-21T17:00:42.560"/>
    <p1510:client id="{C199A77C-CD01-4522-ADD4-9DA819E1387D}" v="2" dt="2022-06-25T14:37:24.115"/>
    <p1510:client id="{CAB589BD-A8BD-415E-AAF6-ED0FFB3B37E1}" v="3" dt="2022-07-20T16:20:46.721"/>
    <p1510:client id="{CE252460-EBC8-416A-B665-B3A637EA24B1}" v="1" dt="2022-07-21T17:23:06.195"/>
    <p1510:client id="{E9181D02-B022-4489-903B-1B387B251230}" v="10" dt="2022-06-18T19:09:10.58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84" y="42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rystal Bruce" userId="14427a4ffe69d2bf" providerId="Windows Live" clId="Web-{C199A77C-CD01-4522-ADD4-9DA819E1387D}"/>
    <pc:docChg chg="addSld delSld modMainMaster">
      <pc:chgData name="Crystal Bruce" userId="14427a4ffe69d2bf" providerId="Windows Live" clId="Web-{C199A77C-CD01-4522-ADD4-9DA819E1387D}" dt="2022-06-25T14:37:24.115" v="1"/>
      <pc:docMkLst>
        <pc:docMk/>
      </pc:docMkLst>
      <pc:sldChg chg="del">
        <pc:chgData name="Crystal Bruce" userId="14427a4ffe69d2bf" providerId="Windows Live" clId="Web-{C199A77C-CD01-4522-ADD4-9DA819E1387D}" dt="2022-06-25T14:37:24.115" v="1"/>
        <pc:sldMkLst>
          <pc:docMk/>
          <pc:sldMk cId="1554804229" sldId="304"/>
        </pc:sldMkLst>
      </pc:sldChg>
      <pc:sldChg chg="add">
        <pc:chgData name="Crystal Bruce" userId="14427a4ffe69d2bf" providerId="Windows Live" clId="Web-{C199A77C-CD01-4522-ADD4-9DA819E1387D}" dt="2022-06-25T14:37:15.256" v="0"/>
        <pc:sldMkLst>
          <pc:docMk/>
          <pc:sldMk cId="2652206778" sldId="305"/>
        </pc:sldMkLst>
      </pc:sldChg>
      <pc:sldMasterChg chg="addSldLayout modSldLayout">
        <pc:chgData name="Crystal Bruce" userId="14427a4ffe69d2bf" providerId="Windows Live" clId="Web-{C199A77C-CD01-4522-ADD4-9DA819E1387D}" dt="2022-06-25T14:37:15.256" v="0"/>
        <pc:sldMasterMkLst>
          <pc:docMk/>
          <pc:sldMasterMk cId="381724926" sldId="2147483724"/>
        </pc:sldMasterMkLst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550026019" sldId="2147483689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2723520718" sldId="2147483690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2200147832" sldId="2147483691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1155982670" sldId="2147483692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3586994308" sldId="2147483693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1454310289" sldId="2147483694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2588695228" sldId="2147483695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3701276073" sldId="2147483696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2416946309" sldId="2147483698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2195483268" sldId="2147483699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3758802842" sldId="2147483700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1478320752" sldId="2147483701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1446618039" sldId="2147483702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3238274825" sldId="2147483703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253510632" sldId="2147483704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2242851283" sldId="2147483705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4186412729" sldId="2147483706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570388987" sldId="2147483707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3758802842" sldId="2147483708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3758802842" sldId="2147483709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506259293" sldId="2147483733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328205538" sldId="2147483734"/>
          </pc:sldLayoutMkLst>
        </pc:sldLayoutChg>
        <pc:sldLayoutChg chg="ad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2132999861" sldId="2147483735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854925572" sldId="2147483754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2882889024" sldId="2147483755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381724926" sldId="2147483724"/>
            <pc:sldLayoutMk cId="3398005429" sldId="2147483756"/>
          </pc:sldLayoutMkLst>
        </pc:sldLayoutChg>
      </pc:sldMasterChg>
      <pc:sldMasterChg chg="replId modSldLayout">
        <pc:chgData name="Crystal Bruce" userId="14427a4ffe69d2bf" providerId="Windows Live" clId="Web-{C199A77C-CD01-4522-ADD4-9DA819E1387D}" dt="2022-06-25T14:37:15.256" v="0"/>
        <pc:sldMasterMkLst>
          <pc:docMk/>
          <pc:sldMasterMk cId="698824461" sldId="2147483757"/>
        </pc:sldMasterMkLst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332504950" sldId="2147483758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827125214" sldId="2147483759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1217424444" sldId="2147483760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1318217941" sldId="2147483761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3119961425" sldId="2147483762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1580935531" sldId="2147483763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2141362982" sldId="2147483764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1870547504" sldId="2147483765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490808715" sldId="2147483766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1273266090" sldId="2147483767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3168784446" sldId="2147483768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2423305774" sldId="2147483769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2042754173" sldId="2147483770"/>
          </pc:sldLayoutMkLst>
        </pc:sldLayoutChg>
        <pc:sldLayoutChg chg="replId">
          <pc:chgData name="Crystal Bruce" userId="14427a4ffe69d2bf" providerId="Windows Live" clId="Web-{C199A77C-CD01-4522-ADD4-9DA819E1387D}" dt="2022-06-25T14:37:15.256" v="0"/>
          <pc:sldLayoutMkLst>
            <pc:docMk/>
            <pc:sldMasterMk cId="698824461" sldId="2147483757"/>
            <pc:sldLayoutMk cId="64621953" sldId="2147483771"/>
          </pc:sldLayoutMkLst>
        </pc:sldLayoutChg>
      </pc:sldMasterChg>
    </pc:docChg>
  </pc:docChgLst>
  <pc:docChgLst>
    <pc:chgData name="Crystal Bruce" userId="14427a4ffe69d2bf" providerId="Windows Live" clId="Web-{62FAE503-74F6-4E3F-9971-14A0749ACE05}"/>
    <pc:docChg chg="delSld">
      <pc:chgData name="Crystal Bruce" userId="14427a4ffe69d2bf" providerId="Windows Live" clId="Web-{62FAE503-74F6-4E3F-9971-14A0749ACE05}" dt="2022-06-25T15:02:05.403" v="0"/>
      <pc:docMkLst>
        <pc:docMk/>
      </pc:docMkLst>
      <pc:sldChg chg="del">
        <pc:chgData name="Crystal Bruce" userId="14427a4ffe69d2bf" providerId="Windows Live" clId="Web-{62FAE503-74F6-4E3F-9971-14A0749ACE05}" dt="2022-06-25T15:02:05.403" v="0"/>
        <pc:sldMkLst>
          <pc:docMk/>
          <pc:sldMk cId="4080236418" sldId="280"/>
        </pc:sldMkLst>
      </pc:sldChg>
    </pc:docChg>
  </pc:docChgLst>
  <pc:docChgLst>
    <pc:chgData name="Crystal Bruce" userId="14427a4ffe69d2bf" providerId="Windows Live" clId="Web-{CE252460-EBC8-416A-B665-B3A637EA24B1}"/>
    <pc:docChg chg="delSld">
      <pc:chgData name="Crystal Bruce" userId="14427a4ffe69d2bf" providerId="Windows Live" clId="Web-{CE252460-EBC8-416A-B665-B3A637EA24B1}" dt="2022-07-21T17:23:06.195" v="0"/>
      <pc:docMkLst>
        <pc:docMk/>
      </pc:docMkLst>
      <pc:sldChg chg="del">
        <pc:chgData name="Crystal Bruce" userId="14427a4ffe69d2bf" providerId="Windows Live" clId="Web-{CE252460-EBC8-416A-B665-B3A637EA24B1}" dt="2022-07-21T17:23:06.195" v="0"/>
        <pc:sldMkLst>
          <pc:docMk/>
          <pc:sldMk cId="2652206778" sldId="305"/>
        </pc:sldMkLst>
      </pc:sldChg>
    </pc:docChg>
  </pc:docChgLst>
  <pc:docChgLst>
    <pc:chgData name="Crystal Bruce" userId="14427a4ffe69d2bf" providerId="Windows Live" clId="Web-{E9181D02-B022-4489-903B-1B387B251230}"/>
    <pc:docChg chg="modSld">
      <pc:chgData name="Crystal Bruce" userId="14427a4ffe69d2bf" providerId="Windows Live" clId="Web-{E9181D02-B022-4489-903B-1B387B251230}" dt="2022-06-18T19:09:10.586" v="11" actId="14100"/>
      <pc:docMkLst>
        <pc:docMk/>
      </pc:docMkLst>
      <pc:sldChg chg="modSp">
        <pc:chgData name="Crystal Bruce" userId="14427a4ffe69d2bf" providerId="Windows Live" clId="Web-{E9181D02-B022-4489-903B-1B387B251230}" dt="2022-06-18T18:52:15.013" v="4" actId="20577"/>
        <pc:sldMkLst>
          <pc:docMk/>
          <pc:sldMk cId="0" sldId="275"/>
        </pc:sldMkLst>
        <pc:spChg chg="mod">
          <ac:chgData name="Crystal Bruce" userId="14427a4ffe69d2bf" providerId="Windows Live" clId="Web-{E9181D02-B022-4489-903B-1B387B251230}" dt="2022-06-18T18:52:15.013" v="4" actId="20577"/>
          <ac:spMkLst>
            <pc:docMk/>
            <pc:sldMk cId="0" sldId="275"/>
            <ac:spMk id="745" creationId="{00000000-0000-0000-0000-000000000000}"/>
          </ac:spMkLst>
        </pc:spChg>
      </pc:sldChg>
      <pc:sldChg chg="modSp">
        <pc:chgData name="Crystal Bruce" userId="14427a4ffe69d2bf" providerId="Windows Live" clId="Web-{E9181D02-B022-4489-903B-1B387B251230}" dt="2022-06-18T18:52:58.016" v="8" actId="1076"/>
        <pc:sldMkLst>
          <pc:docMk/>
          <pc:sldMk cId="0" sldId="276"/>
        </pc:sldMkLst>
        <pc:spChg chg="mod">
          <ac:chgData name="Crystal Bruce" userId="14427a4ffe69d2bf" providerId="Windows Live" clId="Web-{E9181D02-B022-4489-903B-1B387B251230}" dt="2022-06-18T18:52:58.016" v="8" actId="1076"/>
          <ac:spMkLst>
            <pc:docMk/>
            <pc:sldMk cId="0" sldId="276"/>
            <ac:spMk id="751" creationId="{00000000-0000-0000-0000-000000000000}"/>
          </ac:spMkLst>
        </pc:spChg>
      </pc:sldChg>
      <pc:sldChg chg="modSp">
        <pc:chgData name="Crystal Bruce" userId="14427a4ffe69d2bf" providerId="Windows Live" clId="Web-{E9181D02-B022-4489-903B-1B387B251230}" dt="2022-06-18T19:09:10.586" v="11" actId="14100"/>
        <pc:sldMkLst>
          <pc:docMk/>
          <pc:sldMk cId="4107858403" sldId="277"/>
        </pc:sldMkLst>
        <pc:spChg chg="mod">
          <ac:chgData name="Crystal Bruce" userId="14427a4ffe69d2bf" providerId="Windows Live" clId="Web-{E9181D02-B022-4489-903B-1B387B251230}" dt="2022-06-18T19:09:10.586" v="11" actId="14100"/>
          <ac:spMkLst>
            <pc:docMk/>
            <pc:sldMk cId="4107858403" sldId="277"/>
            <ac:spMk id="751" creationId="{00000000-0000-0000-0000-000000000000}"/>
          </ac:spMkLst>
        </pc:spChg>
      </pc:sldChg>
      <pc:sldChg chg="modSp">
        <pc:chgData name="Crystal Bruce" userId="14427a4ffe69d2bf" providerId="Windows Live" clId="Web-{E9181D02-B022-4489-903B-1B387B251230}" dt="2022-06-18T18:49:33.691" v="2" actId="14100"/>
        <pc:sldMkLst>
          <pc:docMk/>
          <pc:sldMk cId="648946626" sldId="279"/>
        </pc:sldMkLst>
        <pc:spChg chg="mod">
          <ac:chgData name="Crystal Bruce" userId="14427a4ffe69d2bf" providerId="Windows Live" clId="Web-{E9181D02-B022-4489-903B-1B387B251230}" dt="2022-06-18T18:49:33.691" v="2" actId="14100"/>
          <ac:spMkLst>
            <pc:docMk/>
            <pc:sldMk cId="648946626" sldId="279"/>
            <ac:spMk id="3" creationId="{786E402D-0DC9-8B90-7157-4779A38F1C33}"/>
          </ac:spMkLst>
        </pc:spChg>
      </pc:sldChg>
    </pc:docChg>
  </pc:docChgLst>
  <pc:docChgLst>
    <pc:chgData name="Crystal Bruce" userId="14427a4ffe69d2bf" providerId="Windows Live" clId="Web-{CAB589BD-A8BD-415E-AAF6-ED0FFB3B37E1}"/>
    <pc:docChg chg="modSld">
      <pc:chgData name="Crystal Bruce" userId="14427a4ffe69d2bf" providerId="Windows Live" clId="Web-{CAB589BD-A8BD-415E-AAF6-ED0FFB3B37E1}" dt="2022-07-20T16:20:46.721" v="2" actId="1076"/>
      <pc:docMkLst>
        <pc:docMk/>
      </pc:docMkLst>
      <pc:sldChg chg="modSp">
        <pc:chgData name="Crystal Bruce" userId="14427a4ffe69d2bf" providerId="Windows Live" clId="Web-{CAB589BD-A8BD-415E-AAF6-ED0FFB3B37E1}" dt="2022-07-20T16:20:46.721" v="2" actId="1076"/>
        <pc:sldMkLst>
          <pc:docMk/>
          <pc:sldMk cId="0" sldId="276"/>
        </pc:sldMkLst>
        <pc:spChg chg="mod">
          <ac:chgData name="Crystal Bruce" userId="14427a4ffe69d2bf" providerId="Windows Live" clId="Web-{CAB589BD-A8BD-415E-AAF6-ED0FFB3B37E1}" dt="2022-07-20T16:20:40.361" v="1" actId="1076"/>
          <ac:spMkLst>
            <pc:docMk/>
            <pc:sldMk cId="0" sldId="276"/>
            <ac:spMk id="751" creationId="{00000000-0000-0000-0000-000000000000}"/>
          </ac:spMkLst>
        </pc:spChg>
        <pc:picChg chg="mod">
          <ac:chgData name="Crystal Bruce" userId="14427a4ffe69d2bf" providerId="Windows Live" clId="Web-{CAB589BD-A8BD-415E-AAF6-ED0FFB3B37E1}" dt="2022-07-20T16:20:46.721" v="2" actId="1076"/>
          <ac:picMkLst>
            <pc:docMk/>
            <pc:sldMk cId="0" sldId="276"/>
            <ac:picMk id="752" creationId="{00000000-0000-0000-0000-000000000000}"/>
          </ac:picMkLst>
        </pc:picChg>
      </pc:sldChg>
    </pc:docChg>
  </pc:docChgLst>
  <pc:docChgLst>
    <pc:chgData name="Crystal Bruce" userId="14427a4ffe69d2bf" providerId="Windows Live" clId="Web-{99F631C4-CFFB-4ADA-B127-292A44A46693}"/>
    <pc:docChg chg="modSld">
      <pc:chgData name="Crystal Bruce" userId="14427a4ffe69d2bf" providerId="Windows Live" clId="Web-{99F631C4-CFFB-4ADA-B127-292A44A46693}" dt="2022-07-21T17:00:42.560" v="3" actId="20577"/>
      <pc:docMkLst>
        <pc:docMk/>
      </pc:docMkLst>
      <pc:sldChg chg="modSp">
        <pc:chgData name="Crystal Bruce" userId="14427a4ffe69d2bf" providerId="Windows Live" clId="Web-{99F631C4-CFFB-4ADA-B127-292A44A46693}" dt="2022-07-21T17:00:32.903" v="2" actId="20577"/>
        <pc:sldMkLst>
          <pc:docMk/>
          <pc:sldMk cId="0" sldId="266"/>
        </pc:sldMkLst>
        <pc:spChg chg="mod">
          <ac:chgData name="Crystal Bruce" userId="14427a4ffe69d2bf" providerId="Windows Live" clId="Web-{99F631C4-CFFB-4ADA-B127-292A44A46693}" dt="2022-07-21T17:00:32.903" v="2" actId="20577"/>
          <ac:spMkLst>
            <pc:docMk/>
            <pc:sldMk cId="0" sldId="266"/>
            <ac:spMk id="683" creationId="{00000000-0000-0000-0000-000000000000}"/>
          </ac:spMkLst>
        </pc:spChg>
      </pc:sldChg>
      <pc:sldChg chg="modSp">
        <pc:chgData name="Crystal Bruce" userId="14427a4ffe69d2bf" providerId="Windows Live" clId="Web-{99F631C4-CFFB-4ADA-B127-292A44A46693}" dt="2022-07-21T17:00:42.560" v="3" actId="20577"/>
        <pc:sldMkLst>
          <pc:docMk/>
          <pc:sldMk cId="0" sldId="267"/>
        </pc:sldMkLst>
        <pc:spChg chg="mod">
          <ac:chgData name="Crystal Bruce" userId="14427a4ffe69d2bf" providerId="Windows Live" clId="Web-{99F631C4-CFFB-4ADA-B127-292A44A46693}" dt="2022-07-21T17:00:42.560" v="3" actId="20577"/>
          <ac:spMkLst>
            <pc:docMk/>
            <pc:sldMk cId="0" sldId="267"/>
            <ac:spMk id="690" creationId="{00000000-0000-0000-0000-000000000000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20F4CC-CB12-4659-B176-B6E5E59B4BCA}" type="datetimeFigureOut">
              <a:rPr lang="en-US" smtClean="0"/>
              <a:t>7/2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6E3D3D-29B1-4B96-93D9-E09895CE8DA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21184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8" name="Google Shape;678;p1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79" name="Google Shape;679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8" name="Google Shape;748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" name="Google Shape;747;p21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8" name="Google Shape;748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42248656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5" name="Google Shape;685;p1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86" name="Google Shape;686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2" name="Google Shape;692;p13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93" name="Google Shape;693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0" name="Google Shape;700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701" name="Google Shape;701;p1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Calibri"/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3" name="Google Shape;713;p16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14" name="Google Shape;714;p16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9" name="Google Shape;719;p17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0" name="Google Shape;720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" name="Google Shape;726;p18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27" name="Google Shape;727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" name="Google Shape;733;p19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34" name="Google Shape;734;p19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0" name="Google Shape;740;p20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741" name="Google Shape;741;p20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1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png"/><Relationship Id="rId10" Type="http://schemas.openxmlformats.org/officeDocument/2006/relationships/image" Target="../media/image14.png"/><Relationship Id="rId4" Type="http://schemas.openxmlformats.org/officeDocument/2006/relationships/image" Target="../media/image8.png"/><Relationship Id="rId9" Type="http://schemas.openxmlformats.org/officeDocument/2006/relationships/image" Target="../media/image13.png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sv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3.png"/><Relationship Id="rId5" Type="http://schemas.openxmlformats.org/officeDocument/2006/relationships/image" Target="../media/image22.emf"/><Relationship Id="rId4" Type="http://schemas.openxmlformats.org/officeDocument/2006/relationships/oleObject" Target="../embeddings/oleObject3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jpeg"/><Relationship Id="rId3" Type="http://schemas.openxmlformats.org/officeDocument/2006/relationships/tags" Target="../tags/tag8.xml"/><Relationship Id="rId7" Type="http://schemas.openxmlformats.org/officeDocument/2006/relationships/image" Target="../media/image25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4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4ACD8893-7198-9DC8-ECD0-58A3C295A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1105037"/>
            <a:ext cx="8571795" cy="1326091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7C8735EB-6336-D816-4CE2-EF9FE3B411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64" y="3205409"/>
            <a:ext cx="7255013" cy="965200"/>
          </a:xfrm>
          <a:prstGeom prst="rect">
            <a:avLst/>
          </a:prstGeom>
        </p:spPr>
        <p:txBody>
          <a:bodyPr/>
          <a:lstStyle>
            <a:lvl1pPr>
              <a:defRPr sz="2933" b="1" i="0" spc="40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4000">
                <a:latin typeface="Poppins" pitchFamily="2" charset="77"/>
                <a:cs typeface="Poppins" pitchFamily="2" charset="77"/>
              </a:defRPr>
            </a:lvl2pPr>
            <a:lvl3pPr>
              <a:defRPr sz="4000">
                <a:latin typeface="Poppins" pitchFamily="2" charset="77"/>
                <a:cs typeface="Poppins" pitchFamily="2" charset="77"/>
              </a:defRPr>
            </a:lvl3pPr>
            <a:lvl4pPr>
              <a:defRPr sz="4000">
                <a:latin typeface="Poppins" pitchFamily="2" charset="77"/>
                <a:cs typeface="Poppins" pitchFamily="2" charset="77"/>
              </a:defRPr>
            </a:lvl4pPr>
            <a:lvl5pPr>
              <a:defRPr sz="400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4FC6879-36DA-D757-04CF-D3B1AD28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477" y="4944889"/>
            <a:ext cx="5994400" cy="1117600"/>
          </a:xfrm>
          <a:prstGeom prst="rect">
            <a:avLst/>
          </a:prstGeom>
        </p:spPr>
        <p:txBody>
          <a:bodyPr/>
          <a:lstStyle>
            <a:lvl1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0" name="Group 3">
            <a:extLst>
              <a:ext uri="{FF2B5EF4-FFF2-40B4-BE49-F238E27FC236}">
                <a16:creationId xmlns:a16="http://schemas.microsoft.com/office/drawing/2014/main" id="{18F90C5E-926A-4DD0-C00C-83311F81680B}"/>
              </a:ext>
            </a:extLst>
          </p:cNvPr>
          <p:cNvGrpSpPr>
            <a:grpSpLocks noChangeAspect="1"/>
          </p:cNvGrpSpPr>
          <p:nvPr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547DD863-9C53-65BB-0157-2E278C1A45B2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2" name="Group 5">
            <a:extLst>
              <a:ext uri="{FF2B5EF4-FFF2-40B4-BE49-F238E27FC236}">
                <a16:creationId xmlns:a16="http://schemas.microsoft.com/office/drawing/2014/main" id="{0C846B09-705C-25BD-E50A-3C5B986D8715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CDD4F5F-364D-8D04-0AC6-98F393532A89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4" name="Group 7">
            <a:extLst>
              <a:ext uri="{FF2B5EF4-FFF2-40B4-BE49-F238E27FC236}">
                <a16:creationId xmlns:a16="http://schemas.microsoft.com/office/drawing/2014/main" id="{51C88F50-F6D7-3566-F6E7-D03848818253}"/>
              </a:ext>
            </a:extLst>
          </p:cNvPr>
          <p:cNvGrpSpPr>
            <a:grpSpLocks noChangeAspect="1"/>
          </p:cNvGrpSpPr>
          <p:nvPr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928190E-2BFE-B21E-3019-1651EF69AB4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91D1A565-5ABE-DADC-7C9B-620587F5B8E0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BCB19521-1D71-9BD2-5701-E6ED3667A42A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8" name="Group 11">
            <a:extLst>
              <a:ext uri="{FF2B5EF4-FFF2-40B4-BE49-F238E27FC236}">
                <a16:creationId xmlns:a16="http://schemas.microsoft.com/office/drawing/2014/main" id="{9DC1A1A6-7515-AA61-DDAB-F95B07DE895A}"/>
              </a:ext>
            </a:extLst>
          </p:cNvPr>
          <p:cNvGrpSpPr>
            <a:grpSpLocks noChangeAspect="1"/>
          </p:cNvGrpSpPr>
          <p:nvPr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E538D081-22A0-FE41-968B-18510B2B40BF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0" name="Group 3">
            <a:extLst>
              <a:ext uri="{FF2B5EF4-FFF2-40B4-BE49-F238E27FC236}">
                <a16:creationId xmlns:a16="http://schemas.microsoft.com/office/drawing/2014/main" id="{827D37A9-E25E-45D6-ABB8-AA23213BC3F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21" name="Freeform 4">
              <a:extLst>
                <a:ext uri="{FF2B5EF4-FFF2-40B4-BE49-F238E27FC236}">
                  <a16:creationId xmlns:a16="http://schemas.microsoft.com/office/drawing/2014/main" id="{51562D60-5D17-4EF0-895D-4700D3AAD11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2" name="Group 5">
            <a:extLst>
              <a:ext uri="{FF2B5EF4-FFF2-40B4-BE49-F238E27FC236}">
                <a16:creationId xmlns:a16="http://schemas.microsoft.com/office/drawing/2014/main" id="{2FBE14A7-3946-4B78-A712-E73BE8E5B82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8DC1DB6F-22A3-454B-9871-96AAB6746743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4" name="Group 7">
            <a:extLst>
              <a:ext uri="{FF2B5EF4-FFF2-40B4-BE49-F238E27FC236}">
                <a16:creationId xmlns:a16="http://schemas.microsoft.com/office/drawing/2014/main" id="{875767BE-4090-4E46-8910-A0BEE835CE8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F215BF36-1B4E-4E92-819B-54C0825ADE8C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6" name="Group 9">
            <a:extLst>
              <a:ext uri="{FF2B5EF4-FFF2-40B4-BE49-F238E27FC236}">
                <a16:creationId xmlns:a16="http://schemas.microsoft.com/office/drawing/2014/main" id="{5CC41F9B-254C-44D6-9D0A-D9149980D48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6C0E5A48-0FA2-4D76-9781-3C229AD46F98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8" name="Group 11">
            <a:extLst>
              <a:ext uri="{FF2B5EF4-FFF2-40B4-BE49-F238E27FC236}">
                <a16:creationId xmlns:a16="http://schemas.microsoft.com/office/drawing/2014/main" id="{BE896CC7-4B32-4BE8-9446-6E00D45D529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E980383E-C357-4C67-8D40-B6E6165507F8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</p:spTree>
    <p:extLst>
      <p:ext uri="{BB962C8B-B14F-4D97-AF65-F5344CB8AC3E}">
        <p14:creationId xmlns:p14="http://schemas.microsoft.com/office/powerpoint/2010/main" val="3325049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1457F6D-D459-E725-646D-C9AFE4BED8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2206" y="124460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10198595-669E-5CD1-643E-C781B091C6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5884" y="2158999"/>
            <a:ext cx="5183717" cy="403119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D6AC2CD9-5DFE-0E63-86C2-7DCC72DF8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CB08C4A3-70DC-084E-18F4-3F50034EA23F}"/>
              </a:ext>
            </a:extLst>
          </p:cNvPr>
          <p:cNvGrpSpPr/>
          <p:nvPr/>
        </p:nvGrpSpPr>
        <p:grpSpPr>
          <a:xfrm rot="3608892">
            <a:off x="8948733" y="6087713"/>
            <a:ext cx="717435" cy="968494"/>
            <a:chOff x="9824704" y="-2020392"/>
            <a:chExt cx="9270979" cy="12307392"/>
          </a:xfrm>
        </p:grpSpPr>
        <p:grpSp>
          <p:nvGrpSpPr>
            <p:cNvPr id="22" name="Group 3">
              <a:extLst>
                <a:ext uri="{FF2B5EF4-FFF2-40B4-BE49-F238E27FC236}">
                  <a16:creationId xmlns:a16="http://schemas.microsoft.com/office/drawing/2014/main" id="{DDFA6BFA-2FE7-99BE-758C-9569FDDD44C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31" name="Freeform 4">
                <a:extLst>
                  <a:ext uri="{FF2B5EF4-FFF2-40B4-BE49-F238E27FC236}">
                    <a16:creationId xmlns:a16="http://schemas.microsoft.com/office/drawing/2014/main" id="{CE46B478-2F0D-825F-BF16-2A659AFCFEE5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3" name="Group 5">
              <a:extLst>
                <a:ext uri="{FF2B5EF4-FFF2-40B4-BE49-F238E27FC236}">
                  <a16:creationId xmlns:a16="http://schemas.microsoft.com/office/drawing/2014/main" id="{E283E192-00EF-7A8E-7AD8-D22CDB268D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30" name="Freeform 6">
                <a:extLst>
                  <a:ext uri="{FF2B5EF4-FFF2-40B4-BE49-F238E27FC236}">
                    <a16:creationId xmlns:a16="http://schemas.microsoft.com/office/drawing/2014/main" id="{90DD8469-F02C-6A43-A19C-5E64A23DEE4C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4" name="Group 7">
              <a:extLst>
                <a:ext uri="{FF2B5EF4-FFF2-40B4-BE49-F238E27FC236}">
                  <a16:creationId xmlns:a16="http://schemas.microsoft.com/office/drawing/2014/main" id="{1643DB72-1316-921F-DFE3-1006B726EA5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29" name="Freeform 8">
                <a:extLst>
                  <a:ext uri="{FF2B5EF4-FFF2-40B4-BE49-F238E27FC236}">
                    <a16:creationId xmlns:a16="http://schemas.microsoft.com/office/drawing/2014/main" id="{2FE68160-19F0-F1F0-B9C4-3C0FD6E8BC67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5" name="Group 9">
              <a:extLst>
                <a:ext uri="{FF2B5EF4-FFF2-40B4-BE49-F238E27FC236}">
                  <a16:creationId xmlns:a16="http://schemas.microsoft.com/office/drawing/2014/main" id="{2EE0AB81-F1DD-0DB6-2D0B-34FFABF60A4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2B4CB59E-473B-02BD-E5D1-80EEE7B1CF0D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6" name="Group 11">
              <a:extLst>
                <a:ext uri="{FF2B5EF4-FFF2-40B4-BE49-F238E27FC236}">
                  <a16:creationId xmlns:a16="http://schemas.microsoft.com/office/drawing/2014/main" id="{3287D850-881C-13A4-F56F-ABD12F4C26F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3E417AFC-2CF8-8F7F-1F6D-7F7632F3DDF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32" name="ZoneTexte 31">
            <a:extLst>
              <a:ext uri="{FF2B5EF4-FFF2-40B4-BE49-F238E27FC236}">
                <a16:creationId xmlns:a16="http://schemas.microsoft.com/office/drawing/2014/main" id="{6FEC2391-8F45-61C5-416A-6F010BFAB883}"/>
              </a:ext>
            </a:extLst>
          </p:cNvPr>
          <p:cNvSpPr txBox="1"/>
          <p:nvPr/>
        </p:nvSpPr>
        <p:spPr>
          <a:xfrm>
            <a:off x="9804400" y="6535579"/>
            <a:ext cx="2692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C7CA92CD-6A87-549B-196E-D39AEE96F3AB}"/>
              </a:ext>
            </a:extLst>
          </p:cNvPr>
          <p:cNvCxnSpPr>
            <a:cxnSpLocks/>
          </p:cNvCxnSpPr>
          <p:nvPr/>
        </p:nvCxnSpPr>
        <p:spPr>
          <a:xfrm>
            <a:off x="8711951" y="6477000"/>
            <a:ext cx="3480049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space réservé pour une image  3">
            <a:extLst>
              <a:ext uri="{FF2B5EF4-FFF2-40B4-BE49-F238E27FC236}">
                <a16:creationId xmlns:a16="http://schemas.microsoft.com/office/drawing/2014/main" id="{7117B56B-855E-289E-32EB-376310D2D6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69000" y="1244600"/>
            <a:ext cx="5511801" cy="49455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423305774"/>
      </p:ext>
    </p:extLst>
  </p:cSld>
  <p:clrMapOvr>
    <a:masterClrMapping/>
  </p:clrMapOvr>
  <p:hf sldNum="0"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9C2699-AC7A-E9E6-7BA2-B178F4AB02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3600" y="1122892"/>
            <a:ext cx="9804400" cy="2387600"/>
          </a:xfrm>
          <a:prstGeom prst="rect">
            <a:avLst/>
          </a:prstGeom>
        </p:spPr>
        <p:txBody>
          <a:bodyPr anchor="b"/>
          <a:lstStyle>
            <a:lvl1pPr algn="l">
              <a:defRPr sz="64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15A4625-51AA-B632-6852-324A2C3FE561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A5FF4C7F-E857-B170-8567-5B89E8D8AAAF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2754173"/>
      </p:ext>
    </p:extLst>
  </p:cSld>
  <p:clrMapOvr>
    <a:masterClrMapping/>
  </p:clrMapOvr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6B0116-D034-7B82-665D-3BB36B4BC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889000"/>
            <a:ext cx="8566150" cy="557741"/>
          </a:xfrm>
          <a:prstGeom prst="rect">
            <a:avLst/>
          </a:prstGeom>
        </p:spPr>
        <p:txBody>
          <a:bodyPr anchor="b"/>
          <a:lstStyle>
            <a:lvl1pPr algn="ctr">
              <a:defRPr sz="24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FFCA881-C301-6987-35A4-2D7A1F0D048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73200" y="1614336"/>
            <a:ext cx="7924801" cy="4430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  <a:lvl2pPr marL="304815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220643-49B0-404B-2FFB-A4E3A84C40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flipH="1">
            <a:off x="5576444" y="3281588"/>
            <a:ext cx="7853771" cy="3455659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BBA06323-73C3-F075-50C6-5AFDD66F3B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36000" y="2921000"/>
            <a:ext cx="3403600" cy="1117600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  <a:lvl2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2pPr>
            <a:lvl3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3pPr>
            <a:lvl4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4pPr>
            <a:lvl5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71A552A1-A49E-3667-80E6-812C54F821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1850" y="2921000"/>
            <a:ext cx="4400550" cy="2844496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2pPr>
            <a:lvl3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3pPr>
            <a:lvl4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4pPr>
            <a:lvl5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3EAF698-867A-AA72-A3B9-C2FA8904A453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 2022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B980B541-87FF-6818-C5EF-62E1E62893EF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4621953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Slide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29B772-47FA-A598-5C21-372863AB2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28763"/>
            <a:ext cx="9271000" cy="1326091"/>
          </a:xfrm>
          <a:prstGeom prst="rect">
            <a:avLst/>
          </a:prstGeom>
        </p:spPr>
        <p:txBody>
          <a:bodyPr/>
          <a:lstStyle>
            <a:lvl1pPr algn="ctr">
              <a:defRPr sz="8000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654D700-40AB-67FB-A664-06EABDDA417D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 2022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7070B578-4E2A-E210-3400-AB221B8B7B7D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7424444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B178F2-1499-D8A5-397B-450410B1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457200"/>
            <a:ext cx="10081683" cy="787400"/>
          </a:xfrm>
          <a:prstGeom prst="rect">
            <a:avLst/>
          </a:prstGeom>
        </p:spPr>
        <p:txBody>
          <a:bodyPr anchor="b"/>
          <a:lstStyle>
            <a:lvl1pPr>
              <a:defRPr sz="44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2B305B0-6FF4-8121-C0C8-F8A11F3E94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0317" y="1549400"/>
            <a:ext cx="10515600" cy="43116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  <a:lvl2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2pPr>
            <a:lvl3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3pPr>
            <a:lvl4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4pPr>
            <a:lvl5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240841F2-E156-7087-C5E5-65CFD62F7B23}"/>
              </a:ext>
            </a:extLst>
          </p:cNvPr>
          <p:cNvGrpSpPr/>
          <p:nvPr/>
        </p:nvGrpSpPr>
        <p:grpSpPr>
          <a:xfrm>
            <a:off x="6691079" y="0"/>
            <a:ext cx="5500921" cy="6909709"/>
            <a:chOff x="0" y="0"/>
            <a:chExt cx="11001842" cy="13819417"/>
          </a:xfrm>
        </p:grpSpPr>
        <p:pic>
          <p:nvPicPr>
            <p:cNvPr id="9" name="Picture 3">
              <a:extLst>
                <a:ext uri="{FF2B5EF4-FFF2-40B4-BE49-F238E27FC236}">
                  <a16:creationId xmlns:a16="http://schemas.microsoft.com/office/drawing/2014/main" id="{AE00EE06-6848-ACF3-C5A9-593CF19C0E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alphaModFix amt="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194" r="10194"/>
            <a:stretch>
              <a:fillRect/>
            </a:stretch>
          </p:blipFill>
          <p:spPr>
            <a:xfrm>
              <a:off x="0" y="0"/>
              <a:ext cx="11001842" cy="13819417"/>
            </a:xfrm>
            <a:prstGeom prst="rect">
              <a:avLst/>
            </a:prstGeom>
          </p:spPr>
        </p:pic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D01408C3-EE6B-65AE-8C0F-A04C9FF29190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</a:t>
            </a:r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Training 2022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F23883E3-AFF2-3F0D-FE24-5D37432AA8B8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41362982"/>
      </p:ext>
    </p:extLst>
  </p:cSld>
  <p:clrMapOvr>
    <a:masterClrMapping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F6950B-7896-288A-ED29-1588D0A3A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6091"/>
          </a:xfrm>
          <a:prstGeom prst="rect">
            <a:avLst/>
          </a:prstGeom>
        </p:spPr>
        <p:txBody>
          <a:bodyPr/>
          <a:lstStyle>
            <a:lvl1pPr>
              <a:defRPr sz="30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6DFED5E4-06C4-7DE1-A8E8-D6EEA6D6B8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24099338"/>
              </p:ext>
            </p:extLst>
          </p:nvPr>
        </p:nvGraphicFramePr>
        <p:xfrm>
          <a:off x="851747" y="2209799"/>
          <a:ext cx="6311055" cy="3606796"/>
        </p:xfrm>
        <a:graphic>
          <a:graphicData uri="http://schemas.openxmlformats.org/drawingml/2006/table">
            <a:tbl>
              <a:tblPr/>
              <a:tblGrid>
                <a:gridCol w="210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ZoneTexte 9">
            <a:extLst>
              <a:ext uri="{FF2B5EF4-FFF2-40B4-BE49-F238E27FC236}">
                <a16:creationId xmlns:a16="http://schemas.microsoft.com/office/drawing/2014/main" id="{480B95F7-2882-9421-5183-9ACD82FCCF02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5138751E-9A12-2F27-0AF8-61120BED506E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80935531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E78E7117-4A1C-F4A2-EB4A-6283B155A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11401"/>
            <a:ext cx="10515600" cy="1326091"/>
          </a:xfrm>
          <a:prstGeom prst="rect">
            <a:avLst/>
          </a:prstGeom>
        </p:spPr>
        <p:txBody>
          <a:bodyPr/>
          <a:lstStyle>
            <a:lvl1pPr>
              <a:defRPr sz="8000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91024A51-4193-8BB3-18C3-A7275B277A5F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6F7FC030-F010-B63C-5B90-9A3FD0605712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587986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62C4CCC0-C8FF-3E89-EB2A-894261FB92FE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77B3945E-3250-1619-AD6C-D3FA26DE97C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120148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086DE16B-331B-EF9B-D63D-78B4178B23B4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F0333726-0B94-FE93-A8C7-FFCD9A29A6EE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05165138"/>
      </p:ext>
    </p:extLst>
  </p:cSld>
  <p:clrMapOvr>
    <a:masterClrMapping/>
  </p:clrMapOvr>
  <p:hf sldNum="0"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F4249773-7829-2639-CAD4-53A89902C226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EC69D02E-10EE-ED47-32D3-E99071AB4317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4794075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4ACD8893-7198-9DC8-ECD0-58A3C295A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865" y="602339"/>
            <a:ext cx="8571795" cy="1326091"/>
          </a:xfrm>
          <a:prstGeom prst="rect">
            <a:avLst/>
          </a:prstGeom>
        </p:spPr>
        <p:txBody>
          <a:bodyPr/>
          <a:lstStyle>
            <a:lvl1pPr>
              <a:defRPr sz="4400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</a:t>
            </a:r>
            <a:r>
              <a:rPr lang="fr-FR" dirty="0" err="1"/>
              <a:t>presentation</a:t>
            </a:r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7C8735EB-6336-D816-4CE2-EF9FE3B411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864" y="3205409"/>
            <a:ext cx="7255013" cy="965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 b="0" i="0" spc="40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4000">
                <a:latin typeface="Poppins" pitchFamily="2" charset="77"/>
                <a:cs typeface="Poppins" pitchFamily="2" charset="77"/>
              </a:defRPr>
            </a:lvl2pPr>
            <a:lvl3pPr>
              <a:defRPr sz="4000">
                <a:latin typeface="Poppins" pitchFamily="2" charset="77"/>
                <a:cs typeface="Poppins" pitchFamily="2" charset="77"/>
              </a:defRPr>
            </a:lvl3pPr>
            <a:lvl4pPr>
              <a:defRPr sz="4000">
                <a:latin typeface="Poppins" pitchFamily="2" charset="77"/>
                <a:cs typeface="Poppins" pitchFamily="2" charset="77"/>
              </a:defRPr>
            </a:lvl4pPr>
            <a:lvl5pPr>
              <a:defRPr sz="400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fr-FR" dirty="0"/>
              <a:t>Name</a:t>
            </a:r>
          </a:p>
          <a:p>
            <a:pPr lvl="0"/>
            <a:r>
              <a:rPr lang="fr-FR" b="0" dirty="0"/>
              <a:t>Position</a:t>
            </a:r>
            <a:endParaRPr lang="fr-FR" dirty="0"/>
          </a:p>
        </p:txBody>
      </p:sp>
      <p:grpSp>
        <p:nvGrpSpPr>
          <p:cNvPr id="10" name="Group 3">
            <a:extLst>
              <a:ext uri="{FF2B5EF4-FFF2-40B4-BE49-F238E27FC236}">
                <a16:creationId xmlns:a16="http://schemas.microsoft.com/office/drawing/2014/main" id="{18F90C5E-926A-4DD0-C00C-83311F81680B}"/>
              </a:ext>
            </a:extLst>
          </p:cNvPr>
          <p:cNvGrpSpPr>
            <a:grpSpLocks noChangeAspect="1"/>
          </p:cNvGrpSpPr>
          <p:nvPr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547DD863-9C53-65BB-0157-2E278C1A45B2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2" name="Group 5">
            <a:extLst>
              <a:ext uri="{FF2B5EF4-FFF2-40B4-BE49-F238E27FC236}">
                <a16:creationId xmlns:a16="http://schemas.microsoft.com/office/drawing/2014/main" id="{0C846B09-705C-25BD-E50A-3C5B986D8715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CDD4F5F-364D-8D04-0AC6-98F393532A89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4" name="Group 7">
            <a:extLst>
              <a:ext uri="{FF2B5EF4-FFF2-40B4-BE49-F238E27FC236}">
                <a16:creationId xmlns:a16="http://schemas.microsoft.com/office/drawing/2014/main" id="{51C88F50-F6D7-3566-F6E7-D03848818253}"/>
              </a:ext>
            </a:extLst>
          </p:cNvPr>
          <p:cNvGrpSpPr>
            <a:grpSpLocks noChangeAspect="1"/>
          </p:cNvGrpSpPr>
          <p:nvPr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928190E-2BFE-B21E-3019-1651EF69AB4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91D1A565-5ABE-DADC-7C9B-620587F5B8E0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BCB19521-1D71-9BD2-5701-E6ED3667A42A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8" name="Group 11">
            <a:extLst>
              <a:ext uri="{FF2B5EF4-FFF2-40B4-BE49-F238E27FC236}">
                <a16:creationId xmlns:a16="http://schemas.microsoft.com/office/drawing/2014/main" id="{9DC1A1A6-7515-AA61-DDAB-F95B07DE895A}"/>
              </a:ext>
            </a:extLst>
          </p:cNvPr>
          <p:cNvGrpSpPr>
            <a:grpSpLocks noChangeAspect="1"/>
          </p:cNvGrpSpPr>
          <p:nvPr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E538D081-22A0-FE41-968B-18510B2B40BF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20" name="ZoneTexte 19">
            <a:extLst>
              <a:ext uri="{FF2B5EF4-FFF2-40B4-BE49-F238E27FC236}">
                <a16:creationId xmlns:a16="http://schemas.microsoft.com/office/drawing/2014/main" id="{4D9FAD82-4700-EEBB-DF0C-B0FFF8521994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EA7B4556-380B-0066-B69B-4A5245ECFD45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125214"/>
      </p:ext>
    </p:extLst>
  </p:cSld>
  <p:clrMapOvr>
    <a:masterClrMapping/>
  </p:clrMapOvr>
  <p:hf sldNum="0"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72628781-542C-9F56-75E5-5734B283FF86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893CBE26-6BFA-8EAA-053B-D984FBA72D37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3423664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75E1A3A1-851F-BB41-DAB8-E35A550A7220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CB195B3F-6D64-5BD4-0B1F-27212A1C1A0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99098288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89CA0-8D52-421D-A56A-524587C1BF9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B64336D-FF06-4DD3-896C-1F09744D76C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AEEB43A-F069-4A93-942C-1393C00F9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47A088F-2C16-49DB-B4B9-7D7F19E9F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6EE246-57C6-4AD8-B4F2-478B7F5AF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04138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B1C91-0D83-4C2B-B316-66A06BE2D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F9CCC8-EF0B-48DC-B73F-302E70ABF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1BEF26-76E1-4E07-8601-5012306C6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F5254A-454D-4714-8056-D73DCFEB09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EAE8FB-1AB7-4A51-A7E1-97A5FAEFA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4759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32818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70869792"/>
      </p:ext>
    </p:extLst>
  </p:cSld>
  <p:clrMapOvr>
    <a:masterClrMapping/>
  </p:clrMapOvr>
  <p:hf sldNum="0" hdr="0" ftr="0" dt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375539"/>
            <a:ext cx="11226365" cy="208579"/>
          </a:xfrm>
        </p:spPr>
        <p:txBody>
          <a:bodyPr anchor="t">
            <a:noAutofit/>
          </a:bodyPr>
          <a:lstStyle>
            <a:lvl1pPr>
              <a:defRPr sz="2000" b="0" i="0">
                <a:solidFill>
                  <a:srgbClr val="FF0000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DRAFT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145657925"/>
      </p:ext>
    </p:extLst>
  </p:cSld>
  <p:clrMapOvr>
    <a:masterClrMapping/>
  </p:clrMapOvr>
  <p:hf sldNum="0"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two columns" type="twoColTx">
  <p:cSld name="Title and two columns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8"/>
          <p:cNvSpPr txBox="1">
            <a:spLocks noGrp="1"/>
          </p:cNvSpPr>
          <p:nvPr>
            <p:ph type="title"/>
          </p:nvPr>
        </p:nvSpPr>
        <p:spPr>
          <a:xfrm>
            <a:off x="612633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Roboto Light"/>
              <a:buNone/>
              <a:defRPr b="0" i="0">
                <a:latin typeface="Arial" panose="020B0604020202020204" pitchFamily="34" charset="0"/>
                <a:ea typeface="Roboto Light"/>
                <a:cs typeface="Arial" panose="020B0604020202020204" pitchFamily="34" charset="0"/>
                <a:sym typeface="Roboto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5" name="Google Shape;15;p18"/>
          <p:cNvSpPr txBox="1">
            <a:spLocks noGrp="1"/>
          </p:cNvSpPr>
          <p:nvPr>
            <p:ph type="body" idx="1"/>
          </p:nvPr>
        </p:nvSpPr>
        <p:spPr>
          <a:xfrm>
            <a:off x="612633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algn="l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B4663"/>
              </a:buClr>
              <a:buSzPts val="1400"/>
              <a:buFont typeface="Roboto Medium"/>
              <a:buChar char="●"/>
              <a:defRPr sz="1867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marL="1219170" lvl="1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marL="1828754" lvl="2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marL="2438339" lvl="3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marL="3047924" lvl="4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marL="3657509" lvl="5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marL="4267093" lvl="6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marL="4876678" lvl="7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marL="5486263" lvl="8" indent="-406390" algn="l">
              <a:lnSpc>
                <a:spcPct val="125000"/>
              </a:lnSpc>
              <a:spcBef>
                <a:spcPts val="2133"/>
              </a:spcBef>
              <a:spcAft>
                <a:spcPts val="2133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Google Shape;16;p18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algn="l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B4663"/>
              </a:buClr>
              <a:buSzPts val="1400"/>
              <a:buFont typeface="Roboto Medium"/>
              <a:buChar char="●"/>
              <a:defRPr sz="1867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marL="1219170" lvl="1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marL="1828754" lvl="2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marL="2438339" lvl="3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marL="3047924" lvl="4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marL="3657509" lvl="5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marL="4267093" lvl="6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marL="4876678" lvl="7" indent="-40639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marL="5486263" lvl="8" indent="-406390" algn="l">
              <a:lnSpc>
                <a:spcPct val="125000"/>
              </a:lnSpc>
              <a:spcBef>
                <a:spcPts val="2133"/>
              </a:spcBef>
              <a:spcAft>
                <a:spcPts val="2133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Google Shape;17;p1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Roboto Light"/>
                <a:cs typeface="Arial" panose="020B0604020202020204" pitchFamily="34" charset="0"/>
                <a:sym typeface="Roboto Ligh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5243149"/>
      </p:ext>
    </p:extLst>
  </p:cSld>
  <p:clrMapOvr>
    <a:masterClrMapping/>
  </p:clrMapOvr>
  <p:hf sldNum="0" hdr="0" ftr="0" dt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_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0A75B8BC-6ADC-BC40-8446-A30BADE3E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8048612" cy="537986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7354E78C-9ECD-4348-AC32-5470CF79DB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97A7AC-0BD6-5A4F-BCBF-85A20F352B9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12D4D8F-899D-B346-BB13-725965F80D20}"/>
              </a:ext>
            </a:extLst>
          </p:cNvPr>
          <p:cNvSpPr/>
          <p:nvPr/>
        </p:nvSpPr>
        <p:spPr bwMode="white">
          <a:xfrm>
            <a:off x="0" y="6739466"/>
            <a:ext cx="12192000" cy="11853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88700487"/>
      </p:ext>
    </p:extLst>
  </p:cSld>
  <p:clrMapOvr>
    <a:masterClrMapping/>
  </p:clrMapOvr>
  <p:hf sldNum="0" hdr="0" ftr="0" dt="0"/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4E39D-7B07-46D3-86FB-22D106C0F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6F0851-29CE-4F95-95A9-77BF4E70D6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45C31C-9709-4820-8567-C0340C2458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56122F-CB12-41CB-B5B5-4D2C625A72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ECFB34-6450-46EE-A397-B1AD4E620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474B5F-8E52-44FD-8D74-C2A95A4BE1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728510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4ACD8893-7198-9DC8-ECD0-58A3C295A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1105037"/>
            <a:ext cx="8571795" cy="1326091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7C8735EB-6336-D816-4CE2-EF9FE3B411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64" y="3205409"/>
            <a:ext cx="7255013" cy="965200"/>
          </a:xfrm>
          <a:prstGeom prst="rect">
            <a:avLst/>
          </a:prstGeom>
        </p:spPr>
        <p:txBody>
          <a:bodyPr/>
          <a:lstStyle>
            <a:lvl1pPr>
              <a:defRPr sz="2933" b="1" i="0" spc="40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4000">
                <a:latin typeface="Poppins" pitchFamily="2" charset="77"/>
                <a:cs typeface="Poppins" pitchFamily="2" charset="77"/>
              </a:defRPr>
            </a:lvl2pPr>
            <a:lvl3pPr>
              <a:defRPr sz="4000">
                <a:latin typeface="Poppins" pitchFamily="2" charset="77"/>
                <a:cs typeface="Poppins" pitchFamily="2" charset="77"/>
              </a:defRPr>
            </a:lvl3pPr>
            <a:lvl4pPr>
              <a:defRPr sz="4000">
                <a:latin typeface="Poppins" pitchFamily="2" charset="77"/>
                <a:cs typeface="Poppins" pitchFamily="2" charset="77"/>
              </a:defRPr>
            </a:lvl4pPr>
            <a:lvl5pPr>
              <a:defRPr sz="400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4FC6879-36DA-D757-04CF-D3B1AD28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477" y="4944889"/>
            <a:ext cx="5994400" cy="1117600"/>
          </a:xfrm>
          <a:prstGeom prst="rect">
            <a:avLst/>
          </a:prstGeom>
        </p:spPr>
        <p:txBody>
          <a:bodyPr/>
          <a:lstStyle>
            <a:lvl1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grpSp>
        <p:nvGrpSpPr>
          <p:cNvPr id="10" name="Group 3">
            <a:extLst>
              <a:ext uri="{FF2B5EF4-FFF2-40B4-BE49-F238E27FC236}">
                <a16:creationId xmlns:a16="http://schemas.microsoft.com/office/drawing/2014/main" id="{18F90C5E-926A-4DD0-C00C-83311F81680B}"/>
              </a:ext>
            </a:extLst>
          </p:cNvPr>
          <p:cNvGrpSpPr>
            <a:grpSpLocks noChangeAspect="1"/>
          </p:cNvGrpSpPr>
          <p:nvPr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547DD863-9C53-65BB-0157-2E278C1A45B2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2" name="Group 5">
            <a:extLst>
              <a:ext uri="{FF2B5EF4-FFF2-40B4-BE49-F238E27FC236}">
                <a16:creationId xmlns:a16="http://schemas.microsoft.com/office/drawing/2014/main" id="{0C846B09-705C-25BD-E50A-3C5B986D8715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CDD4F5F-364D-8D04-0AC6-98F393532A89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4" name="Group 7">
            <a:extLst>
              <a:ext uri="{FF2B5EF4-FFF2-40B4-BE49-F238E27FC236}">
                <a16:creationId xmlns:a16="http://schemas.microsoft.com/office/drawing/2014/main" id="{51C88F50-F6D7-3566-F6E7-D03848818253}"/>
              </a:ext>
            </a:extLst>
          </p:cNvPr>
          <p:cNvGrpSpPr>
            <a:grpSpLocks noChangeAspect="1"/>
          </p:cNvGrpSpPr>
          <p:nvPr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928190E-2BFE-B21E-3019-1651EF69AB4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91D1A565-5ABE-DADC-7C9B-620587F5B8E0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BCB19521-1D71-9BD2-5701-E6ED3667A42A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8" name="Group 11">
            <a:extLst>
              <a:ext uri="{FF2B5EF4-FFF2-40B4-BE49-F238E27FC236}">
                <a16:creationId xmlns:a16="http://schemas.microsoft.com/office/drawing/2014/main" id="{9DC1A1A6-7515-AA61-DDAB-F95B07DE895A}"/>
              </a:ext>
            </a:extLst>
          </p:cNvPr>
          <p:cNvGrpSpPr>
            <a:grpSpLocks noChangeAspect="1"/>
          </p:cNvGrpSpPr>
          <p:nvPr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E538D081-22A0-FE41-968B-18510B2B40BF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0" name="Group 3">
            <a:extLst>
              <a:ext uri="{FF2B5EF4-FFF2-40B4-BE49-F238E27FC236}">
                <a16:creationId xmlns:a16="http://schemas.microsoft.com/office/drawing/2014/main" id="{94C248B8-711E-4F29-9A8B-91B97FDD8A3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21" name="Freeform 4">
              <a:extLst>
                <a:ext uri="{FF2B5EF4-FFF2-40B4-BE49-F238E27FC236}">
                  <a16:creationId xmlns:a16="http://schemas.microsoft.com/office/drawing/2014/main" id="{1475B4BF-E2F7-4FC8-9F28-82A77F1662E5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2" name="Group 5">
            <a:extLst>
              <a:ext uri="{FF2B5EF4-FFF2-40B4-BE49-F238E27FC236}">
                <a16:creationId xmlns:a16="http://schemas.microsoft.com/office/drawing/2014/main" id="{7CEEE077-9DDB-45C8-AB94-04FF2EAE110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A6F34F3-F16C-4D9E-8361-06E45EDD98B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4" name="Group 7">
            <a:extLst>
              <a:ext uri="{FF2B5EF4-FFF2-40B4-BE49-F238E27FC236}">
                <a16:creationId xmlns:a16="http://schemas.microsoft.com/office/drawing/2014/main" id="{58AC57B2-A670-4601-8846-1A6E2F77905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10BE1777-38DB-490D-A90D-80EE574B5766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6" name="Group 9">
            <a:extLst>
              <a:ext uri="{FF2B5EF4-FFF2-40B4-BE49-F238E27FC236}">
                <a16:creationId xmlns:a16="http://schemas.microsoft.com/office/drawing/2014/main" id="{6B38BE04-9723-477F-AA5F-EDDEAB847D0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A30BA3-DA3F-4063-9A8B-3AAC62C58E68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8" name="Group 11">
            <a:extLst>
              <a:ext uri="{FF2B5EF4-FFF2-40B4-BE49-F238E27FC236}">
                <a16:creationId xmlns:a16="http://schemas.microsoft.com/office/drawing/2014/main" id="{BF9FAA3E-9C54-432C-BC41-94E75DB4F9F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36FE175F-5D84-4F71-9C7B-B79F2CA31AC3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</p:spTree>
    <p:extLst>
      <p:ext uri="{BB962C8B-B14F-4D97-AF65-F5344CB8AC3E}">
        <p14:creationId xmlns:p14="http://schemas.microsoft.com/office/powerpoint/2010/main" val="5062592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787EFD-E633-729D-1E35-6149E1667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AFD430C-9AAD-447B-22C6-F29FCA3A12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F8EBCD7-713D-B97F-5B2C-306011DBFE3E}"/>
              </a:ext>
            </a:extLst>
          </p:cNvPr>
          <p:cNvGrpSpPr/>
          <p:nvPr/>
        </p:nvGrpSpPr>
        <p:grpSpPr>
          <a:xfrm>
            <a:off x="10972801" y="4717197"/>
            <a:ext cx="1625599" cy="2185128"/>
            <a:chOff x="9824704" y="-2020392"/>
            <a:chExt cx="9270979" cy="12307392"/>
          </a:xfrm>
        </p:grpSpPr>
        <p:grpSp>
          <p:nvGrpSpPr>
            <p:cNvPr id="30" name="Group 3">
              <a:extLst>
                <a:ext uri="{FF2B5EF4-FFF2-40B4-BE49-F238E27FC236}">
                  <a16:creationId xmlns:a16="http://schemas.microsoft.com/office/drawing/2014/main" id="{25F460FF-3750-6AC9-FC05-BD2523B1BFA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31" name="Freeform 4">
                <a:extLst>
                  <a:ext uri="{FF2B5EF4-FFF2-40B4-BE49-F238E27FC236}">
                    <a16:creationId xmlns:a16="http://schemas.microsoft.com/office/drawing/2014/main" id="{B6030F0A-B6E1-FF59-D8E0-12F98827827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2" name="Group 5">
              <a:extLst>
                <a:ext uri="{FF2B5EF4-FFF2-40B4-BE49-F238E27FC236}">
                  <a16:creationId xmlns:a16="http://schemas.microsoft.com/office/drawing/2014/main" id="{78911277-E3B1-38B2-2414-2D89011E23E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EFCF59DB-6C9A-31EA-22E7-6F45A4C6E35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4" name="Group 7">
              <a:extLst>
                <a:ext uri="{FF2B5EF4-FFF2-40B4-BE49-F238E27FC236}">
                  <a16:creationId xmlns:a16="http://schemas.microsoft.com/office/drawing/2014/main" id="{0235F194-A942-E43B-506F-9AD7A3D2EE6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7FC91801-A2F7-BAC7-E9B7-EAA49FB5E5D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6" name="Group 9">
              <a:extLst>
                <a:ext uri="{FF2B5EF4-FFF2-40B4-BE49-F238E27FC236}">
                  <a16:creationId xmlns:a16="http://schemas.microsoft.com/office/drawing/2014/main" id="{53CFFC6C-62EB-D13A-B9CA-C9B50BAFF37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17C9B8C9-1FAA-D3EA-839E-FC3908DDF89A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8" name="Group 11">
              <a:extLst>
                <a:ext uri="{FF2B5EF4-FFF2-40B4-BE49-F238E27FC236}">
                  <a16:creationId xmlns:a16="http://schemas.microsoft.com/office/drawing/2014/main" id="{DC9A6B05-D900-8154-8E66-72CC7B9FC5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7C877FE-C100-B97D-3FCE-0083D10B6C6C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17" name="ZoneTexte 16">
            <a:extLst>
              <a:ext uri="{FF2B5EF4-FFF2-40B4-BE49-F238E27FC236}">
                <a16:creationId xmlns:a16="http://schemas.microsoft.com/office/drawing/2014/main" id="{8BB9FFE7-8D5E-8E6C-91D5-32524E698908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02E42F46-90F5-77E7-6496-B6BF20F94429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1309768"/>
      </p:ext>
    </p:extLst>
  </p:cSld>
  <p:clrMapOvr>
    <a:masterClrMapping/>
  </p:clrMapOvr>
  <p:hf sldNum="0"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4ACD8893-7198-9DC8-ECD0-58A3C295A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865" y="602339"/>
            <a:ext cx="8571795" cy="1326091"/>
          </a:xfrm>
          <a:prstGeom prst="rect">
            <a:avLst/>
          </a:prstGeom>
        </p:spPr>
        <p:txBody>
          <a:bodyPr/>
          <a:lstStyle>
            <a:lvl1pPr>
              <a:defRPr sz="4400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fr-FR" err="1"/>
              <a:t>Title</a:t>
            </a:r>
            <a:r>
              <a:rPr lang="fr-FR"/>
              <a:t> </a:t>
            </a:r>
            <a:r>
              <a:rPr lang="fr-FR" err="1"/>
              <a:t>presentation</a:t>
            </a:r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7C8735EB-6336-D816-4CE2-EF9FE3B411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864" y="3205409"/>
            <a:ext cx="7255013" cy="965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 b="0" i="0" spc="40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4000">
                <a:latin typeface="Poppins" pitchFamily="2" charset="77"/>
                <a:cs typeface="Poppins" pitchFamily="2" charset="77"/>
              </a:defRPr>
            </a:lvl2pPr>
            <a:lvl3pPr>
              <a:defRPr sz="4000">
                <a:latin typeface="Poppins" pitchFamily="2" charset="77"/>
                <a:cs typeface="Poppins" pitchFamily="2" charset="77"/>
              </a:defRPr>
            </a:lvl3pPr>
            <a:lvl4pPr>
              <a:defRPr sz="4000">
                <a:latin typeface="Poppins" pitchFamily="2" charset="77"/>
                <a:cs typeface="Poppins" pitchFamily="2" charset="77"/>
              </a:defRPr>
            </a:lvl4pPr>
            <a:lvl5pPr>
              <a:defRPr sz="400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fr-FR"/>
              <a:t>Name</a:t>
            </a:r>
          </a:p>
          <a:p>
            <a:pPr lvl="0"/>
            <a:r>
              <a:rPr lang="fr-FR" b="0"/>
              <a:t>Position</a:t>
            </a:r>
            <a:endParaRPr lang="fr-FR"/>
          </a:p>
        </p:txBody>
      </p:sp>
      <p:grpSp>
        <p:nvGrpSpPr>
          <p:cNvPr id="10" name="Group 3">
            <a:extLst>
              <a:ext uri="{FF2B5EF4-FFF2-40B4-BE49-F238E27FC236}">
                <a16:creationId xmlns:a16="http://schemas.microsoft.com/office/drawing/2014/main" id="{18F90C5E-926A-4DD0-C00C-83311F81680B}"/>
              </a:ext>
            </a:extLst>
          </p:cNvPr>
          <p:cNvGrpSpPr>
            <a:grpSpLocks noChangeAspect="1"/>
          </p:cNvGrpSpPr>
          <p:nvPr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547DD863-9C53-65BB-0157-2E278C1A45B2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2" name="Group 5">
            <a:extLst>
              <a:ext uri="{FF2B5EF4-FFF2-40B4-BE49-F238E27FC236}">
                <a16:creationId xmlns:a16="http://schemas.microsoft.com/office/drawing/2014/main" id="{0C846B09-705C-25BD-E50A-3C5B986D8715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CDD4F5F-364D-8D04-0AC6-98F393532A89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4" name="Group 7">
            <a:extLst>
              <a:ext uri="{FF2B5EF4-FFF2-40B4-BE49-F238E27FC236}">
                <a16:creationId xmlns:a16="http://schemas.microsoft.com/office/drawing/2014/main" id="{51C88F50-F6D7-3566-F6E7-D03848818253}"/>
              </a:ext>
            </a:extLst>
          </p:cNvPr>
          <p:cNvGrpSpPr>
            <a:grpSpLocks noChangeAspect="1"/>
          </p:cNvGrpSpPr>
          <p:nvPr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928190E-2BFE-B21E-3019-1651EF69AB4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91D1A565-5ABE-DADC-7C9B-620587F5B8E0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BCB19521-1D71-9BD2-5701-E6ED3667A42A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8" name="Group 11">
            <a:extLst>
              <a:ext uri="{FF2B5EF4-FFF2-40B4-BE49-F238E27FC236}">
                <a16:creationId xmlns:a16="http://schemas.microsoft.com/office/drawing/2014/main" id="{9DC1A1A6-7515-AA61-DDAB-F95B07DE895A}"/>
              </a:ext>
            </a:extLst>
          </p:cNvPr>
          <p:cNvGrpSpPr>
            <a:grpSpLocks noChangeAspect="1"/>
          </p:cNvGrpSpPr>
          <p:nvPr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E538D081-22A0-FE41-968B-18510B2B40BF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20" name="ZoneTexte 19">
            <a:extLst>
              <a:ext uri="{FF2B5EF4-FFF2-40B4-BE49-F238E27FC236}">
                <a16:creationId xmlns:a16="http://schemas.microsoft.com/office/drawing/2014/main" id="{4D9FAD82-4700-EEBB-DF0C-B0FFF8521994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EA7B4556-380B-0066-B69B-4A5245ECFD45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3">
            <a:extLst>
              <a:ext uri="{FF2B5EF4-FFF2-40B4-BE49-F238E27FC236}">
                <a16:creationId xmlns:a16="http://schemas.microsoft.com/office/drawing/2014/main" id="{631480AB-633D-4992-977B-677495F244E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67904455-72C0-496D-89AC-69D6E6B95742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4" name="Group 5">
            <a:extLst>
              <a:ext uri="{FF2B5EF4-FFF2-40B4-BE49-F238E27FC236}">
                <a16:creationId xmlns:a16="http://schemas.microsoft.com/office/drawing/2014/main" id="{CCE2CA93-5252-4ED1-951B-86DF55CE45C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F085AE8-C321-48EE-9B63-D6FFBD366AAB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6" name="Group 7">
            <a:extLst>
              <a:ext uri="{FF2B5EF4-FFF2-40B4-BE49-F238E27FC236}">
                <a16:creationId xmlns:a16="http://schemas.microsoft.com/office/drawing/2014/main" id="{EB97EC1A-9200-4D86-924F-31B86FE93FF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B813B0D9-0BC4-4B97-B5EC-653118AACC2E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8" name="Group 9">
            <a:extLst>
              <a:ext uri="{FF2B5EF4-FFF2-40B4-BE49-F238E27FC236}">
                <a16:creationId xmlns:a16="http://schemas.microsoft.com/office/drawing/2014/main" id="{00E209D9-3E28-4177-88DC-16BA5FD355B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2E4842A0-8A83-49EC-8CA0-A0946FD8FACC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0" name="Group 11">
            <a:extLst>
              <a:ext uri="{FF2B5EF4-FFF2-40B4-BE49-F238E27FC236}">
                <a16:creationId xmlns:a16="http://schemas.microsoft.com/office/drawing/2014/main" id="{FE935023-6A54-40A8-9857-667B633B6F4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CC45D424-BDF3-4EFF-BFAB-E13DFEBD873E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32" name="ZoneTexte 19">
            <a:extLst>
              <a:ext uri="{FF2B5EF4-FFF2-40B4-BE49-F238E27FC236}">
                <a16:creationId xmlns:a16="http://schemas.microsoft.com/office/drawing/2014/main" id="{4C9E7887-F4CE-4A5E-AF2A-4BF21D6660A1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3" name="Connecteur droit 20">
            <a:extLst>
              <a:ext uri="{FF2B5EF4-FFF2-40B4-BE49-F238E27FC236}">
                <a16:creationId xmlns:a16="http://schemas.microsoft.com/office/drawing/2014/main" id="{78D820CE-393A-4203-963A-1934211CB23D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2055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787EFD-E633-729D-1E35-6149E1667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AFD430C-9AAD-447B-22C6-F29FCA3A12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F8EBCD7-713D-B97F-5B2C-306011DBFE3E}"/>
              </a:ext>
            </a:extLst>
          </p:cNvPr>
          <p:cNvGrpSpPr/>
          <p:nvPr/>
        </p:nvGrpSpPr>
        <p:grpSpPr>
          <a:xfrm>
            <a:off x="10972801" y="4717197"/>
            <a:ext cx="1625599" cy="2185128"/>
            <a:chOff x="9824704" y="-2020392"/>
            <a:chExt cx="9270979" cy="12307392"/>
          </a:xfrm>
        </p:grpSpPr>
        <p:grpSp>
          <p:nvGrpSpPr>
            <p:cNvPr id="30" name="Group 3">
              <a:extLst>
                <a:ext uri="{FF2B5EF4-FFF2-40B4-BE49-F238E27FC236}">
                  <a16:creationId xmlns:a16="http://schemas.microsoft.com/office/drawing/2014/main" id="{25F460FF-3750-6AC9-FC05-BD2523B1BFA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31" name="Freeform 4">
                <a:extLst>
                  <a:ext uri="{FF2B5EF4-FFF2-40B4-BE49-F238E27FC236}">
                    <a16:creationId xmlns:a16="http://schemas.microsoft.com/office/drawing/2014/main" id="{B6030F0A-B6E1-FF59-D8E0-12F98827827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2" name="Group 5">
              <a:extLst>
                <a:ext uri="{FF2B5EF4-FFF2-40B4-BE49-F238E27FC236}">
                  <a16:creationId xmlns:a16="http://schemas.microsoft.com/office/drawing/2014/main" id="{78911277-E3B1-38B2-2414-2D89011E23E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EFCF59DB-6C9A-31EA-22E7-6F45A4C6E35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4" name="Group 7">
              <a:extLst>
                <a:ext uri="{FF2B5EF4-FFF2-40B4-BE49-F238E27FC236}">
                  <a16:creationId xmlns:a16="http://schemas.microsoft.com/office/drawing/2014/main" id="{0235F194-A942-E43B-506F-9AD7A3D2EE6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7FC91801-A2F7-BAC7-E9B7-EAA49FB5E5D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6" name="Group 9">
              <a:extLst>
                <a:ext uri="{FF2B5EF4-FFF2-40B4-BE49-F238E27FC236}">
                  <a16:creationId xmlns:a16="http://schemas.microsoft.com/office/drawing/2014/main" id="{53CFFC6C-62EB-D13A-B9CA-C9B50BAFF37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17C9B8C9-1FAA-D3EA-839E-FC3908DDF89A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8" name="Group 11">
              <a:extLst>
                <a:ext uri="{FF2B5EF4-FFF2-40B4-BE49-F238E27FC236}">
                  <a16:creationId xmlns:a16="http://schemas.microsoft.com/office/drawing/2014/main" id="{DC9A6B05-D900-8154-8E66-72CC7B9FC5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7C877FE-C100-B97D-3FCE-0083D10B6C6C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17" name="ZoneTexte 16">
            <a:extLst>
              <a:ext uri="{FF2B5EF4-FFF2-40B4-BE49-F238E27FC236}">
                <a16:creationId xmlns:a16="http://schemas.microsoft.com/office/drawing/2014/main" id="{8BB9FFE7-8D5E-8E6C-91D5-32524E698908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02E42F46-90F5-77E7-6496-B6BF20F94429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e 4">
            <a:extLst>
              <a:ext uri="{FF2B5EF4-FFF2-40B4-BE49-F238E27FC236}">
                <a16:creationId xmlns:a16="http://schemas.microsoft.com/office/drawing/2014/main" id="{0651BF2E-C837-4D28-80A8-56F66580F637}"/>
              </a:ext>
            </a:extLst>
          </p:cNvPr>
          <p:cNvGrpSpPr/>
          <p:nvPr userDrawn="1"/>
        </p:nvGrpSpPr>
        <p:grpSpPr>
          <a:xfrm>
            <a:off x="10972801" y="4717197"/>
            <a:ext cx="1625599" cy="2185128"/>
            <a:chOff x="9824704" y="-2020392"/>
            <a:chExt cx="9270979" cy="12307392"/>
          </a:xfrm>
        </p:grpSpPr>
        <p:grpSp>
          <p:nvGrpSpPr>
            <p:cNvPr id="20" name="Group 3">
              <a:extLst>
                <a:ext uri="{FF2B5EF4-FFF2-40B4-BE49-F238E27FC236}">
                  <a16:creationId xmlns:a16="http://schemas.microsoft.com/office/drawing/2014/main" id="{2CC24288-768F-4272-8149-08AE876EEA83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29" name="Freeform 4">
                <a:extLst>
                  <a:ext uri="{FF2B5EF4-FFF2-40B4-BE49-F238E27FC236}">
                    <a16:creationId xmlns:a16="http://schemas.microsoft.com/office/drawing/2014/main" id="{5232DE0F-5076-4204-896B-66847F63E15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1" name="Group 5">
              <a:extLst>
                <a:ext uri="{FF2B5EF4-FFF2-40B4-BE49-F238E27FC236}">
                  <a16:creationId xmlns:a16="http://schemas.microsoft.com/office/drawing/2014/main" id="{1B017339-6859-4971-A0FA-B6F94D739D57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28" name="Freeform 6">
                <a:extLst>
                  <a:ext uri="{FF2B5EF4-FFF2-40B4-BE49-F238E27FC236}">
                    <a16:creationId xmlns:a16="http://schemas.microsoft.com/office/drawing/2014/main" id="{77EEFBAE-7522-42C6-942B-46D059CEF8F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2" name="Group 7">
              <a:extLst>
                <a:ext uri="{FF2B5EF4-FFF2-40B4-BE49-F238E27FC236}">
                  <a16:creationId xmlns:a16="http://schemas.microsoft.com/office/drawing/2014/main" id="{9FF4110B-DB6C-444D-AEAB-BF3290EDBF9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27" name="Freeform 8">
                <a:extLst>
                  <a:ext uri="{FF2B5EF4-FFF2-40B4-BE49-F238E27FC236}">
                    <a16:creationId xmlns:a16="http://schemas.microsoft.com/office/drawing/2014/main" id="{C9737E64-A356-48B6-8C02-CFE7E8D69CF6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3" name="Group 9">
              <a:extLst>
                <a:ext uri="{FF2B5EF4-FFF2-40B4-BE49-F238E27FC236}">
                  <a16:creationId xmlns:a16="http://schemas.microsoft.com/office/drawing/2014/main" id="{532EC4A6-55C1-49DC-BD4D-8DF521775AC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4F754CB6-5467-4544-9005-37D7B01C8B5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4" name="Group 11">
              <a:extLst>
                <a:ext uri="{FF2B5EF4-FFF2-40B4-BE49-F238E27FC236}">
                  <a16:creationId xmlns:a16="http://schemas.microsoft.com/office/drawing/2014/main" id="{F845D0E5-4CB7-4A85-98E2-BFC5946E32CC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7A234E7C-3491-416B-9564-48CB6B1E0438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40" name="ZoneTexte 16">
            <a:extLst>
              <a:ext uri="{FF2B5EF4-FFF2-40B4-BE49-F238E27FC236}">
                <a16:creationId xmlns:a16="http://schemas.microsoft.com/office/drawing/2014/main" id="{A5B3C1EF-25F9-4B0E-86F3-DEE8B5305180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41" name="Connecteur droit 17">
            <a:extLst>
              <a:ext uri="{FF2B5EF4-FFF2-40B4-BE49-F238E27FC236}">
                <a16:creationId xmlns:a16="http://schemas.microsoft.com/office/drawing/2014/main" id="{F909C407-53FF-4DFC-99EB-3A8CBC353A9B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3299986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>
            <a:extLst>
              <a:ext uri="{FF2B5EF4-FFF2-40B4-BE49-F238E27FC236}">
                <a16:creationId xmlns:a16="http://schemas.microsoft.com/office/drawing/2014/main" id="{1CAF00C5-F7DA-4755-E96D-64A96C08B39E}"/>
              </a:ext>
            </a:extLst>
          </p:cNvPr>
          <p:cNvGrpSpPr/>
          <p:nvPr/>
        </p:nvGrpSpPr>
        <p:grpSpPr>
          <a:xfrm rot="3608892">
            <a:off x="4170740" y="6087713"/>
            <a:ext cx="717435" cy="968494"/>
            <a:chOff x="9824704" y="-2020392"/>
            <a:chExt cx="9270979" cy="12307392"/>
          </a:xfrm>
        </p:grpSpPr>
        <p:grpSp>
          <p:nvGrpSpPr>
            <p:cNvPr id="18" name="Group 3">
              <a:extLst>
                <a:ext uri="{FF2B5EF4-FFF2-40B4-BE49-F238E27FC236}">
                  <a16:creationId xmlns:a16="http://schemas.microsoft.com/office/drawing/2014/main" id="{D44535E7-C4DC-78DB-A7A8-6270D639D59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27" name="Freeform 4">
                <a:extLst>
                  <a:ext uri="{FF2B5EF4-FFF2-40B4-BE49-F238E27FC236}">
                    <a16:creationId xmlns:a16="http://schemas.microsoft.com/office/drawing/2014/main" id="{A37C8411-6E3C-DB79-4F3B-86873DF6054D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9" name="Group 5">
              <a:extLst>
                <a:ext uri="{FF2B5EF4-FFF2-40B4-BE49-F238E27FC236}">
                  <a16:creationId xmlns:a16="http://schemas.microsoft.com/office/drawing/2014/main" id="{B0CB359F-A173-B531-357E-06D398B7AB1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D3A751FA-5239-5689-E97A-22A3E01E423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0" name="Group 7">
              <a:extLst>
                <a:ext uri="{FF2B5EF4-FFF2-40B4-BE49-F238E27FC236}">
                  <a16:creationId xmlns:a16="http://schemas.microsoft.com/office/drawing/2014/main" id="{B4AD2B37-84FA-623C-764F-410A0D79FD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1664A612-F7DB-74A1-5454-42692D5B2B28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1" name="Group 9">
              <a:extLst>
                <a:ext uri="{FF2B5EF4-FFF2-40B4-BE49-F238E27FC236}">
                  <a16:creationId xmlns:a16="http://schemas.microsoft.com/office/drawing/2014/main" id="{F9A50F3A-CC65-9428-CA94-85FC043A5A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24" name="Freeform 10">
                <a:extLst>
                  <a:ext uri="{FF2B5EF4-FFF2-40B4-BE49-F238E27FC236}">
                    <a16:creationId xmlns:a16="http://schemas.microsoft.com/office/drawing/2014/main" id="{B8460C0A-E74C-758D-A48E-B995FA25B9A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2" name="Group 11">
              <a:extLst>
                <a:ext uri="{FF2B5EF4-FFF2-40B4-BE49-F238E27FC236}">
                  <a16:creationId xmlns:a16="http://schemas.microsoft.com/office/drawing/2014/main" id="{D6838A77-76A0-D0FF-5F1A-4E295F1F4E6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1A8BC44C-8E16-7A0F-96B8-1BDFC0A0A7B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28" name="ZoneTexte 27">
            <a:extLst>
              <a:ext uri="{FF2B5EF4-FFF2-40B4-BE49-F238E27FC236}">
                <a16:creationId xmlns:a16="http://schemas.microsoft.com/office/drawing/2014/main" id="{61B6D1A2-E21B-8081-F592-001617AE51D2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err="1">
                <a:latin typeface="Poppins" pitchFamily="2" charset="77"/>
                <a:cs typeface="Poppins" pitchFamily="2" charset="77"/>
              </a:rPr>
              <a:t>Comprehensive</a:t>
            </a:r>
            <a:r>
              <a:rPr lang="fr-FR" sz="800">
                <a:latin typeface="Poppins" pitchFamily="2" charset="77"/>
                <a:cs typeface="Poppins" pitchFamily="2" charset="77"/>
              </a:rPr>
              <a:t> Training 2022</a:t>
            </a:r>
          </a:p>
        </p:txBody>
      </p: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6256D9B0-C816-675E-C239-53EFB72DE25A}"/>
              </a:ext>
            </a:extLst>
          </p:cNvPr>
          <p:cNvCxnSpPr>
            <a:cxnSpLocks/>
          </p:cNvCxnSpPr>
          <p:nvPr/>
        </p:nvCxnSpPr>
        <p:spPr>
          <a:xfrm>
            <a:off x="-50800" y="6492874"/>
            <a:ext cx="508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re 1">
            <a:extLst>
              <a:ext uri="{FF2B5EF4-FFF2-40B4-BE49-F238E27FC236}">
                <a16:creationId xmlns:a16="http://schemas.microsoft.com/office/drawing/2014/main" id="{E25F335D-C4FF-B8A9-66BE-917BC7B40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4EAFE968-A7A1-B80F-4139-D9795C9CC1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32" name="Groupe 16">
            <a:extLst>
              <a:ext uri="{FF2B5EF4-FFF2-40B4-BE49-F238E27FC236}">
                <a16:creationId xmlns:a16="http://schemas.microsoft.com/office/drawing/2014/main" id="{DDBC99AD-1995-4E74-8F75-4E68C6F6D040}"/>
              </a:ext>
            </a:extLst>
          </p:cNvPr>
          <p:cNvGrpSpPr/>
          <p:nvPr userDrawn="1"/>
        </p:nvGrpSpPr>
        <p:grpSpPr>
          <a:xfrm rot="3608892">
            <a:off x="4170740" y="6087713"/>
            <a:ext cx="717435" cy="968494"/>
            <a:chOff x="9824704" y="-2020392"/>
            <a:chExt cx="9270979" cy="12307392"/>
          </a:xfrm>
        </p:grpSpPr>
        <p:grpSp>
          <p:nvGrpSpPr>
            <p:cNvPr id="33" name="Group 3">
              <a:extLst>
                <a:ext uri="{FF2B5EF4-FFF2-40B4-BE49-F238E27FC236}">
                  <a16:creationId xmlns:a16="http://schemas.microsoft.com/office/drawing/2014/main" id="{363C9901-FFE8-4F33-871F-3DCD1D0F0DCB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42" name="Freeform 4">
                <a:extLst>
                  <a:ext uri="{FF2B5EF4-FFF2-40B4-BE49-F238E27FC236}">
                    <a16:creationId xmlns:a16="http://schemas.microsoft.com/office/drawing/2014/main" id="{2EED5908-04FC-4DF3-86F3-0645B7BB9C5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4" name="Group 5">
              <a:extLst>
                <a:ext uri="{FF2B5EF4-FFF2-40B4-BE49-F238E27FC236}">
                  <a16:creationId xmlns:a16="http://schemas.microsoft.com/office/drawing/2014/main" id="{9088C53D-33FA-4CDF-A1E1-FF1F9B05D8B5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41" name="Freeform 6">
                <a:extLst>
                  <a:ext uri="{FF2B5EF4-FFF2-40B4-BE49-F238E27FC236}">
                    <a16:creationId xmlns:a16="http://schemas.microsoft.com/office/drawing/2014/main" id="{C490EA88-CEE7-4F6B-8C2E-69056F473FC7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5" name="Group 7">
              <a:extLst>
                <a:ext uri="{FF2B5EF4-FFF2-40B4-BE49-F238E27FC236}">
                  <a16:creationId xmlns:a16="http://schemas.microsoft.com/office/drawing/2014/main" id="{4F55C277-8891-4896-B2E0-9C6F71D8B06B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40" name="Freeform 8">
                <a:extLst>
                  <a:ext uri="{FF2B5EF4-FFF2-40B4-BE49-F238E27FC236}">
                    <a16:creationId xmlns:a16="http://schemas.microsoft.com/office/drawing/2014/main" id="{3EEC9A30-442E-41DC-B52F-DB85259E08F9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6" name="Group 9">
              <a:extLst>
                <a:ext uri="{FF2B5EF4-FFF2-40B4-BE49-F238E27FC236}">
                  <a16:creationId xmlns:a16="http://schemas.microsoft.com/office/drawing/2014/main" id="{1B1BB4CF-10DF-4F1B-B3A8-D80F85C896E9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39" name="Freeform 10">
                <a:extLst>
                  <a:ext uri="{FF2B5EF4-FFF2-40B4-BE49-F238E27FC236}">
                    <a16:creationId xmlns:a16="http://schemas.microsoft.com/office/drawing/2014/main" id="{5C9D3D97-0115-4D83-AD65-64C36F4602D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7" name="Group 11">
              <a:extLst>
                <a:ext uri="{FF2B5EF4-FFF2-40B4-BE49-F238E27FC236}">
                  <a16:creationId xmlns:a16="http://schemas.microsoft.com/office/drawing/2014/main" id="{F9963F0B-FBCC-421A-9DCD-BA659BB153F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C27AE71D-5A27-4435-9B56-6986F066622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43" name="ZoneTexte 27">
            <a:extLst>
              <a:ext uri="{FF2B5EF4-FFF2-40B4-BE49-F238E27FC236}">
                <a16:creationId xmlns:a16="http://schemas.microsoft.com/office/drawing/2014/main" id="{EDDC1380-E614-4911-B6EC-E5E32F7B19C4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err="1">
                <a:latin typeface="Poppins" pitchFamily="2" charset="77"/>
                <a:cs typeface="Poppins" pitchFamily="2" charset="77"/>
              </a:rPr>
              <a:t>Comprehensive</a:t>
            </a:r>
            <a:r>
              <a:rPr lang="fr-FR" sz="800">
                <a:latin typeface="Poppins" pitchFamily="2" charset="77"/>
                <a:cs typeface="Poppins" pitchFamily="2" charset="77"/>
              </a:rPr>
              <a:t> Training 2022</a:t>
            </a:r>
          </a:p>
        </p:txBody>
      </p:sp>
      <p:cxnSp>
        <p:nvCxnSpPr>
          <p:cNvPr id="44" name="Connecteur droit 28">
            <a:extLst>
              <a:ext uri="{FF2B5EF4-FFF2-40B4-BE49-F238E27FC236}">
                <a16:creationId xmlns:a16="http://schemas.microsoft.com/office/drawing/2014/main" id="{7F4E0EC0-65E9-4F4E-BA1F-2DEB0067D951}"/>
              </a:ext>
            </a:extLst>
          </p:cNvPr>
          <p:cNvCxnSpPr>
            <a:cxnSpLocks/>
          </p:cNvCxnSpPr>
          <p:nvPr userDrawn="1"/>
        </p:nvCxnSpPr>
        <p:spPr>
          <a:xfrm>
            <a:off x="-50800" y="6492874"/>
            <a:ext cx="508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00260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5196DB-ADD8-8377-22BF-115D9D266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9" y="365126"/>
            <a:ext cx="8572499" cy="473075"/>
          </a:xfrm>
          <a:prstGeom prst="rect">
            <a:avLst/>
          </a:prstGeom>
        </p:spPr>
        <p:txBody>
          <a:bodyPr/>
          <a:lstStyle>
            <a:lvl1pPr>
              <a:defRPr sz="2400" b="1" i="0"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F57EDF-BD9B-6D87-79CC-648270B254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7999" y="991513"/>
            <a:ext cx="8572500" cy="689286"/>
          </a:xfrm>
          <a:prstGeom prst="rect">
            <a:avLst/>
          </a:prstGeom>
        </p:spPr>
        <p:txBody>
          <a:bodyPr/>
          <a:lstStyle>
            <a:lvl1pPr algn="ctr">
              <a:defRPr sz="2133" b="0" i="0">
                <a:latin typeface="Poppins Light" pitchFamily="2" charset="77"/>
                <a:cs typeface="Poppins Light" pitchFamily="2" charset="77"/>
              </a:defRPr>
            </a:lvl1pPr>
            <a:lvl2pPr algn="ctr">
              <a:defRPr sz="2133" b="0" i="0">
                <a:latin typeface="Poppins Light" pitchFamily="2" charset="77"/>
                <a:cs typeface="Poppins Light" pitchFamily="2" charset="77"/>
              </a:defRPr>
            </a:lvl2pPr>
            <a:lvl3pPr algn="ctr">
              <a:defRPr sz="2133" b="0" i="0">
                <a:latin typeface="Poppins Light" pitchFamily="2" charset="77"/>
                <a:cs typeface="Poppins Light" pitchFamily="2" charset="77"/>
              </a:defRPr>
            </a:lvl3pPr>
            <a:lvl4pPr algn="ctr">
              <a:defRPr sz="2133" b="0" i="0">
                <a:latin typeface="Poppins Light" pitchFamily="2" charset="77"/>
                <a:cs typeface="Poppins Light" pitchFamily="2" charset="77"/>
              </a:defRPr>
            </a:lvl4pPr>
            <a:lvl5pPr algn="ctr">
              <a:defRPr sz="21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7" name="Group 2">
            <a:extLst>
              <a:ext uri="{FF2B5EF4-FFF2-40B4-BE49-F238E27FC236}">
                <a16:creationId xmlns:a16="http://schemas.microsoft.com/office/drawing/2014/main" id="{84DF5FD3-368A-EF89-8149-3F8DC30E8ED5}"/>
              </a:ext>
            </a:extLst>
          </p:cNvPr>
          <p:cNvGrpSpPr>
            <a:grpSpLocks noChangeAspect="1"/>
          </p:cNvGrpSpPr>
          <p:nvPr/>
        </p:nvGrpSpPr>
        <p:grpSpPr>
          <a:xfrm>
            <a:off x="36827" y="3936476"/>
            <a:ext cx="1512035" cy="1309354"/>
            <a:chOff x="0" y="0"/>
            <a:chExt cx="4282440" cy="370840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207A5AE6-C703-B397-653C-DE3EF72325A6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9" name="Group 4">
            <a:extLst>
              <a:ext uri="{FF2B5EF4-FFF2-40B4-BE49-F238E27FC236}">
                <a16:creationId xmlns:a16="http://schemas.microsoft.com/office/drawing/2014/main" id="{A853F251-BFD7-6E3B-4AC4-69C2BAE5066C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3234476"/>
            <a:ext cx="1512035" cy="1309354"/>
            <a:chOff x="0" y="0"/>
            <a:chExt cx="4282440" cy="3708400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B8B3F4F-C0F7-35DA-FF67-8BA5C47ABA23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1" name="Group 6">
            <a:extLst>
              <a:ext uri="{FF2B5EF4-FFF2-40B4-BE49-F238E27FC236}">
                <a16:creationId xmlns:a16="http://schemas.microsoft.com/office/drawing/2014/main" id="{86531AB7-3B7A-B165-5F15-DB9550187643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4688703"/>
            <a:ext cx="1512035" cy="1309354"/>
            <a:chOff x="0" y="0"/>
            <a:chExt cx="4282440" cy="3708400"/>
          </a:xfrm>
        </p:grpSpPr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7F4A836-03D3-0478-993C-89ABCD789556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3" name="Group 8">
            <a:extLst>
              <a:ext uri="{FF2B5EF4-FFF2-40B4-BE49-F238E27FC236}">
                <a16:creationId xmlns:a16="http://schemas.microsoft.com/office/drawing/2014/main" id="{56C60DFD-8387-7A95-BB2D-514C050483D0}"/>
              </a:ext>
            </a:extLst>
          </p:cNvPr>
          <p:cNvGrpSpPr>
            <a:grpSpLocks noChangeAspect="1"/>
          </p:cNvGrpSpPr>
          <p:nvPr/>
        </p:nvGrpSpPr>
        <p:grpSpPr>
          <a:xfrm>
            <a:off x="1" y="5369502"/>
            <a:ext cx="1512035" cy="1309354"/>
            <a:chOff x="0" y="0"/>
            <a:chExt cx="4282440" cy="3708400"/>
          </a:xfrm>
        </p:grpSpPr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C5983990-1CB7-7E54-7DA1-6FDE8AB0D929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5" name="Group 10">
            <a:extLst>
              <a:ext uri="{FF2B5EF4-FFF2-40B4-BE49-F238E27FC236}">
                <a16:creationId xmlns:a16="http://schemas.microsoft.com/office/drawing/2014/main" id="{8BE35399-D3C5-0957-DBA2-9D71AE382BE6}"/>
              </a:ext>
            </a:extLst>
          </p:cNvPr>
          <p:cNvGrpSpPr>
            <a:grpSpLocks noChangeAspect="1"/>
          </p:cNvGrpSpPr>
          <p:nvPr/>
        </p:nvGrpSpPr>
        <p:grpSpPr>
          <a:xfrm>
            <a:off x="73654" y="1073445"/>
            <a:ext cx="1512035" cy="1309354"/>
            <a:chOff x="0" y="0"/>
            <a:chExt cx="4282440" cy="3708400"/>
          </a:xfrm>
        </p:grpSpPr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4DFA1151-F81E-CAB0-3902-18EBA90CB0E1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7" name="Group 12">
            <a:extLst>
              <a:ext uri="{FF2B5EF4-FFF2-40B4-BE49-F238E27FC236}">
                <a16:creationId xmlns:a16="http://schemas.microsoft.com/office/drawing/2014/main" id="{8B5B18D7-A00B-0944-F9C9-165806E8EB29}"/>
              </a:ext>
            </a:extLst>
          </p:cNvPr>
          <p:cNvGrpSpPr>
            <a:grpSpLocks noChangeAspect="1"/>
          </p:cNvGrpSpPr>
          <p:nvPr/>
        </p:nvGrpSpPr>
        <p:grpSpPr>
          <a:xfrm>
            <a:off x="1332571" y="371445"/>
            <a:ext cx="1512035" cy="1309354"/>
            <a:chOff x="0" y="0"/>
            <a:chExt cx="4282440" cy="3708400"/>
          </a:xfrm>
        </p:grpSpPr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EF864D30-926B-0E3B-2003-863ED869D3A9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9" name="Group 14">
            <a:extLst>
              <a:ext uri="{FF2B5EF4-FFF2-40B4-BE49-F238E27FC236}">
                <a16:creationId xmlns:a16="http://schemas.microsoft.com/office/drawing/2014/main" id="{BD6A3244-85C0-F294-C04B-C36353346B57}"/>
              </a:ext>
            </a:extLst>
          </p:cNvPr>
          <p:cNvGrpSpPr>
            <a:grpSpLocks noChangeAspect="1"/>
          </p:cNvGrpSpPr>
          <p:nvPr/>
        </p:nvGrpSpPr>
        <p:grpSpPr>
          <a:xfrm>
            <a:off x="1332571" y="1825673"/>
            <a:ext cx="1512035" cy="1309354"/>
            <a:chOff x="0" y="0"/>
            <a:chExt cx="4282440" cy="3708400"/>
          </a:xfrm>
        </p:grpSpPr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E878B086-DB5D-19E7-CB18-9843868B3EA0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1" name="Group 16">
            <a:extLst>
              <a:ext uri="{FF2B5EF4-FFF2-40B4-BE49-F238E27FC236}">
                <a16:creationId xmlns:a16="http://schemas.microsoft.com/office/drawing/2014/main" id="{E2A16322-2149-E9DA-81B4-808B647A7AEA}"/>
              </a:ext>
            </a:extLst>
          </p:cNvPr>
          <p:cNvGrpSpPr>
            <a:grpSpLocks noChangeAspect="1"/>
          </p:cNvGrpSpPr>
          <p:nvPr/>
        </p:nvGrpSpPr>
        <p:grpSpPr>
          <a:xfrm>
            <a:off x="36827" y="2506471"/>
            <a:ext cx="1512035" cy="1309354"/>
            <a:chOff x="0" y="0"/>
            <a:chExt cx="4282440" cy="3708400"/>
          </a:xfrm>
        </p:grpSpPr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9BD49836-0F4A-6269-46A6-F0152C83FDF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3" name="Group 18">
            <a:extLst>
              <a:ext uri="{FF2B5EF4-FFF2-40B4-BE49-F238E27FC236}">
                <a16:creationId xmlns:a16="http://schemas.microsoft.com/office/drawing/2014/main" id="{B1E73EFC-1911-CEF6-92E0-D7AE6CBCA65F}"/>
              </a:ext>
            </a:extLst>
          </p:cNvPr>
          <p:cNvGrpSpPr>
            <a:grpSpLocks noChangeAspect="1"/>
          </p:cNvGrpSpPr>
          <p:nvPr/>
        </p:nvGrpSpPr>
        <p:grpSpPr>
          <a:xfrm>
            <a:off x="144973" y="-381959"/>
            <a:ext cx="1512035" cy="1309354"/>
            <a:chOff x="0" y="0"/>
            <a:chExt cx="4282440" cy="3708400"/>
          </a:xfrm>
        </p:grpSpPr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B87AC40F-7DA0-FBCF-F119-B7163596449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5" name="Group 20">
            <a:extLst>
              <a:ext uri="{FF2B5EF4-FFF2-40B4-BE49-F238E27FC236}">
                <a16:creationId xmlns:a16="http://schemas.microsoft.com/office/drawing/2014/main" id="{92A04046-EACC-E004-CD32-CF15D5846798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6144108"/>
            <a:ext cx="1512035" cy="1309354"/>
            <a:chOff x="0" y="0"/>
            <a:chExt cx="4282440" cy="3708400"/>
          </a:xfrm>
        </p:grpSpPr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453A13B7-85A7-BA73-9A6D-2D80ABDB2D5D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BBD52D01-002C-DDB3-BF8F-7E1679FAFE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7999" y="2089200"/>
            <a:ext cx="8572501" cy="1817159"/>
          </a:xfrm>
          <a:prstGeom prst="rect">
            <a:avLst/>
          </a:prstGeom>
        </p:spPr>
        <p:txBody>
          <a:bodyPr/>
          <a:lstStyle>
            <a:lvl1pPr>
              <a:defRPr sz="2133" b="1" i="0">
                <a:latin typeface="Poppins" pitchFamily="2" charset="77"/>
                <a:cs typeface="Poppins" pitchFamily="2" charset="77"/>
              </a:defRPr>
            </a:lvl1pPr>
            <a:lvl2pPr>
              <a:defRPr sz="2133" b="0" i="0">
                <a:latin typeface="Poppins Light" pitchFamily="2" charset="77"/>
                <a:cs typeface="Poppins Light" pitchFamily="2" charset="77"/>
              </a:defRPr>
            </a:lvl2pPr>
            <a:lvl3pPr>
              <a:defRPr sz="2133" b="0" i="0">
                <a:latin typeface="Poppins Light" pitchFamily="2" charset="77"/>
                <a:cs typeface="Poppins Light" pitchFamily="2" charset="77"/>
              </a:defRPr>
            </a:lvl3pPr>
            <a:lvl4pPr>
              <a:defRPr sz="2133" b="0" i="0">
                <a:latin typeface="Poppins Light" pitchFamily="2" charset="77"/>
                <a:cs typeface="Poppins Light" pitchFamily="2" charset="77"/>
              </a:defRPr>
            </a:lvl4pPr>
            <a:lvl5pPr>
              <a:defRPr sz="21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BE23FD0-3B31-7AAB-B75F-EA6CE1761D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0" y="4191000"/>
            <a:ext cx="4152900" cy="2387600"/>
          </a:xfrm>
          <a:prstGeom prst="rect">
            <a:avLst/>
          </a:prstGeom>
        </p:spPr>
        <p:txBody>
          <a:bodyPr/>
          <a:lstStyle>
            <a:lvl1pPr>
              <a:defRPr sz="1333" b="1" i="0">
                <a:latin typeface="Poppins" pitchFamily="2" charset="77"/>
                <a:cs typeface="Poppins" pitchFamily="2" charset="77"/>
              </a:defRPr>
            </a:lvl1pPr>
            <a:lvl2pPr>
              <a:defRPr sz="1333" b="0" i="0">
                <a:latin typeface="Poppins Light" pitchFamily="2" charset="77"/>
                <a:cs typeface="Poppins Light" pitchFamily="2" charset="77"/>
              </a:defRPr>
            </a:lvl2pPr>
            <a:lvl3pPr>
              <a:defRPr sz="1333" b="0" i="0">
                <a:latin typeface="Poppins Light" pitchFamily="2" charset="77"/>
                <a:cs typeface="Poppins Light" pitchFamily="2" charset="77"/>
              </a:defRPr>
            </a:lvl3pPr>
            <a:lvl4pPr>
              <a:defRPr sz="1333" b="0" i="0">
                <a:latin typeface="Poppins Light" pitchFamily="2" charset="77"/>
                <a:cs typeface="Poppins Light" pitchFamily="2" charset="77"/>
              </a:defRPr>
            </a:lvl4pPr>
            <a:lvl5pPr>
              <a:defRPr sz="13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E19EA179-BA4B-82E5-CEFA-53B658CD84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67600" y="4191000"/>
            <a:ext cx="4152900" cy="2387600"/>
          </a:xfrm>
          <a:prstGeom prst="rect">
            <a:avLst/>
          </a:prstGeom>
        </p:spPr>
        <p:txBody>
          <a:bodyPr/>
          <a:lstStyle>
            <a:lvl1pPr>
              <a:defRPr sz="1333" b="1" i="0">
                <a:latin typeface="Poppins" pitchFamily="2" charset="77"/>
                <a:cs typeface="Poppins" pitchFamily="2" charset="77"/>
              </a:defRPr>
            </a:lvl1pPr>
            <a:lvl2pPr>
              <a:defRPr sz="1333" b="1" i="0">
                <a:latin typeface="Poppins" pitchFamily="2" charset="77"/>
                <a:cs typeface="Poppins" pitchFamily="2" charset="77"/>
              </a:defRPr>
            </a:lvl2pPr>
            <a:lvl3pPr>
              <a:defRPr sz="1333" b="1" i="0">
                <a:latin typeface="Poppins" pitchFamily="2" charset="77"/>
                <a:cs typeface="Poppins" pitchFamily="2" charset="77"/>
              </a:defRPr>
            </a:lvl3pPr>
            <a:lvl4pPr>
              <a:defRPr sz="1333" b="1" i="0">
                <a:latin typeface="Poppins" pitchFamily="2" charset="77"/>
                <a:cs typeface="Poppins" pitchFamily="2" charset="77"/>
              </a:defRPr>
            </a:lvl4pPr>
            <a:lvl5pPr>
              <a:defRPr sz="1333" b="1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C5A0AE8-0394-B9A5-3402-15A685DFD2F6}"/>
              </a:ext>
            </a:extLst>
          </p:cNvPr>
          <p:cNvSpPr txBox="1"/>
          <p:nvPr/>
        </p:nvSpPr>
        <p:spPr>
          <a:xfrm>
            <a:off x="9652000" y="6535578"/>
            <a:ext cx="2844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C06AC00C-F834-ED7A-46AD-18CADEC07B46}"/>
              </a:ext>
            </a:extLst>
          </p:cNvPr>
          <p:cNvCxnSpPr/>
          <p:nvPr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">
            <a:extLst>
              <a:ext uri="{FF2B5EF4-FFF2-40B4-BE49-F238E27FC236}">
                <a16:creationId xmlns:a16="http://schemas.microsoft.com/office/drawing/2014/main" id="{C38D5D0F-578E-4893-9BFF-23EC4C82F99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827" y="3936476"/>
            <a:ext cx="1512035" cy="1309354"/>
            <a:chOff x="0" y="0"/>
            <a:chExt cx="4282440" cy="3708400"/>
          </a:xfrm>
        </p:grpSpPr>
        <p:sp>
          <p:nvSpPr>
            <p:cNvPr id="34" name="Freeform 3">
              <a:extLst>
                <a:ext uri="{FF2B5EF4-FFF2-40B4-BE49-F238E27FC236}">
                  <a16:creationId xmlns:a16="http://schemas.microsoft.com/office/drawing/2014/main" id="{003C6D16-B2BC-4EFB-A448-58EFA516CC0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5" name="Group 4">
            <a:extLst>
              <a:ext uri="{FF2B5EF4-FFF2-40B4-BE49-F238E27FC236}">
                <a16:creationId xmlns:a16="http://schemas.microsoft.com/office/drawing/2014/main" id="{4EC8B49F-E9AD-4926-B3C7-8A7ACA9C81C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95744" y="3234476"/>
            <a:ext cx="1512035" cy="1309354"/>
            <a:chOff x="0" y="0"/>
            <a:chExt cx="4282440" cy="3708400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C0CC29F0-F544-4E8D-BE8E-0D901352A515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7" name="Group 6">
            <a:extLst>
              <a:ext uri="{FF2B5EF4-FFF2-40B4-BE49-F238E27FC236}">
                <a16:creationId xmlns:a16="http://schemas.microsoft.com/office/drawing/2014/main" id="{CF0745F1-C1AA-44E7-A3AB-80737E15118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95744" y="4688703"/>
            <a:ext cx="1512035" cy="1309354"/>
            <a:chOff x="0" y="0"/>
            <a:chExt cx="4282440" cy="3708400"/>
          </a:xfrm>
        </p:grpSpPr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374117F1-8FE6-4E88-916C-99842436DE6E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9" name="Group 8">
            <a:extLst>
              <a:ext uri="{FF2B5EF4-FFF2-40B4-BE49-F238E27FC236}">
                <a16:creationId xmlns:a16="http://schemas.microsoft.com/office/drawing/2014/main" id="{90F1A009-EDEC-490D-98BF-4F23675AF8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" y="5369502"/>
            <a:ext cx="1512035" cy="1309354"/>
            <a:chOff x="0" y="0"/>
            <a:chExt cx="4282440" cy="3708400"/>
          </a:xfrm>
        </p:grpSpPr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D3FAB1EC-2650-428D-AFEE-BB73E0673379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1" name="Group 10">
            <a:extLst>
              <a:ext uri="{FF2B5EF4-FFF2-40B4-BE49-F238E27FC236}">
                <a16:creationId xmlns:a16="http://schemas.microsoft.com/office/drawing/2014/main" id="{C5B7FA23-02FA-42E1-BCE0-B8D26EBD8F3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654" y="1073445"/>
            <a:ext cx="1512035" cy="1309354"/>
            <a:chOff x="0" y="0"/>
            <a:chExt cx="4282440" cy="3708400"/>
          </a:xfrm>
        </p:grpSpPr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01A29188-7DF5-478A-A939-FED350ED82AF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3" name="Group 12">
            <a:extLst>
              <a:ext uri="{FF2B5EF4-FFF2-40B4-BE49-F238E27FC236}">
                <a16:creationId xmlns:a16="http://schemas.microsoft.com/office/drawing/2014/main" id="{0CE70912-5A98-4E15-BF77-195177BC39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32571" y="371445"/>
            <a:ext cx="1512035" cy="1309354"/>
            <a:chOff x="0" y="0"/>
            <a:chExt cx="4282440" cy="3708400"/>
          </a:xfrm>
        </p:grpSpPr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6774145C-D685-418C-AA1C-FCEEDAABC4E0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5" name="Group 14">
            <a:extLst>
              <a:ext uri="{FF2B5EF4-FFF2-40B4-BE49-F238E27FC236}">
                <a16:creationId xmlns:a16="http://schemas.microsoft.com/office/drawing/2014/main" id="{041F00D3-E21C-4F37-BFE1-CB3F7400A3F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32571" y="1825673"/>
            <a:ext cx="1512035" cy="1309354"/>
            <a:chOff x="0" y="0"/>
            <a:chExt cx="4282440" cy="3708400"/>
          </a:xfrm>
        </p:grpSpPr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83C75743-8D0E-4131-B380-97291D9DD0DE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7" name="Group 16">
            <a:extLst>
              <a:ext uri="{FF2B5EF4-FFF2-40B4-BE49-F238E27FC236}">
                <a16:creationId xmlns:a16="http://schemas.microsoft.com/office/drawing/2014/main" id="{5D8D3337-2056-4A36-916A-AFF3D19B445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827" y="2506471"/>
            <a:ext cx="1512035" cy="1309354"/>
            <a:chOff x="0" y="0"/>
            <a:chExt cx="4282440" cy="3708400"/>
          </a:xfrm>
        </p:grpSpPr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CF45CD96-CE77-488A-9E3D-961465B5B7FA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2B6B76A-7A57-4AF4-B443-A0EF0D6342E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44973" y="-381959"/>
            <a:ext cx="1512035" cy="1309354"/>
            <a:chOff x="0" y="0"/>
            <a:chExt cx="4282440" cy="3708400"/>
          </a:xfrm>
        </p:grpSpPr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9FCB2B3C-9B4F-4793-9526-73B75AA464F3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51" name="Group 20">
            <a:extLst>
              <a:ext uri="{FF2B5EF4-FFF2-40B4-BE49-F238E27FC236}">
                <a16:creationId xmlns:a16="http://schemas.microsoft.com/office/drawing/2014/main" id="{EA2D2A9C-FB19-4CE8-842D-13DC908CAC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95744" y="6144108"/>
            <a:ext cx="1512035" cy="1309354"/>
            <a:chOff x="0" y="0"/>
            <a:chExt cx="4282440" cy="3708400"/>
          </a:xfrm>
        </p:grpSpPr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19222F95-4207-4D2D-8A18-08A32B770EBA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53" name="ZoneTexte 30">
            <a:extLst>
              <a:ext uri="{FF2B5EF4-FFF2-40B4-BE49-F238E27FC236}">
                <a16:creationId xmlns:a16="http://schemas.microsoft.com/office/drawing/2014/main" id="{79FD775C-D0F2-4585-BA01-8AB9B4D820C5}"/>
              </a:ext>
            </a:extLst>
          </p:cNvPr>
          <p:cNvSpPr txBox="1"/>
          <p:nvPr userDrawn="1"/>
        </p:nvSpPr>
        <p:spPr>
          <a:xfrm>
            <a:off x="9652000" y="6535578"/>
            <a:ext cx="2844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4" name="Connecteur droit 32">
            <a:extLst>
              <a:ext uri="{FF2B5EF4-FFF2-40B4-BE49-F238E27FC236}">
                <a16:creationId xmlns:a16="http://schemas.microsoft.com/office/drawing/2014/main" id="{4E00AFE8-E42C-472B-81AF-8B93B9A36CC7}"/>
              </a:ext>
            </a:extLst>
          </p:cNvPr>
          <p:cNvCxnSpPr/>
          <p:nvPr userDrawn="1"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35207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787EFD-E633-729D-1E35-6149E1667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65706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AFD430C-9AAD-447B-22C6-F29FCA3A12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208868"/>
            <a:ext cx="10515600" cy="4968624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8" name="Group 3">
            <a:extLst>
              <a:ext uri="{FF2B5EF4-FFF2-40B4-BE49-F238E27FC236}">
                <a16:creationId xmlns:a16="http://schemas.microsoft.com/office/drawing/2014/main" id="{CCCCB5CB-8202-C82F-DAE4-2BA9DA66E5C9}"/>
              </a:ext>
            </a:extLst>
          </p:cNvPr>
          <p:cNvGrpSpPr>
            <a:grpSpLocks noChangeAspect="1"/>
          </p:cNvGrpSpPr>
          <p:nvPr/>
        </p:nvGrpSpPr>
        <p:grpSpPr>
          <a:xfrm>
            <a:off x="8310447" y="2976447"/>
            <a:ext cx="3881553" cy="3881553"/>
            <a:chOff x="0" y="0"/>
            <a:chExt cx="6350000" cy="6350000"/>
          </a:xfrm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D7013DD4-0F71-A24E-1A1C-B5E113905D6A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A2EF51-C4BD-0BF5-CDA6-B5C334CBF8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8873666">
            <a:off x="8675748" y="4956869"/>
            <a:ext cx="4058681" cy="812800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7" name="Group 3">
            <a:extLst>
              <a:ext uri="{FF2B5EF4-FFF2-40B4-BE49-F238E27FC236}">
                <a16:creationId xmlns:a16="http://schemas.microsoft.com/office/drawing/2014/main" id="{65226802-8905-417F-B274-16F6D39C6C0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10447" y="2976447"/>
            <a:ext cx="3881553" cy="3881553"/>
            <a:chOff x="0" y="0"/>
            <a:chExt cx="6350000" cy="635000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C554F417-EF35-4AE3-AA15-1BD0B9DF66D0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</p:spTree>
    <p:extLst>
      <p:ext uri="{BB962C8B-B14F-4D97-AF65-F5344CB8AC3E}">
        <p14:creationId xmlns:p14="http://schemas.microsoft.com/office/powerpoint/2010/main" val="22001478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>
            <a:extLst>
              <a:ext uri="{FF2B5EF4-FFF2-40B4-BE49-F238E27FC236}">
                <a16:creationId xmlns:a16="http://schemas.microsoft.com/office/drawing/2014/main" id="{FFFF934C-B719-D64C-6950-DB2144B26250}"/>
              </a:ext>
            </a:extLst>
          </p:cNvPr>
          <p:cNvGrpSpPr>
            <a:grpSpLocks noChangeAspect="1"/>
          </p:cNvGrpSpPr>
          <p:nvPr/>
        </p:nvGrpSpPr>
        <p:grpSpPr>
          <a:xfrm rot="12042674">
            <a:off x="-772341" y="-1725855"/>
            <a:ext cx="6801264" cy="6801264"/>
            <a:chOff x="0" y="0"/>
            <a:chExt cx="6350000" cy="6350000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85E54572-8C2C-DF20-1988-DC16E94D105C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alphaModFix amt="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6A2483E-413F-C3B8-E2B3-D413F0C34F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6083" y="3115071"/>
            <a:ext cx="5157259" cy="4476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A00D3B7-6D1F-67A6-9B98-AD523EB741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6083" y="3657923"/>
            <a:ext cx="5157259" cy="253206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1903D66-C3F7-B452-C00E-8D76F1FBD5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70628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71F842D-2342-FBED-7119-99A0A2BE37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529665"/>
            <a:ext cx="5183717" cy="4660528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2" name="AutoShape 3">
            <a:extLst>
              <a:ext uri="{FF2B5EF4-FFF2-40B4-BE49-F238E27FC236}">
                <a16:creationId xmlns:a16="http://schemas.microsoft.com/office/drawing/2014/main" id="{692268E6-5EAA-1ABD-6AEF-F579E2E043C5}"/>
              </a:ext>
            </a:extLst>
          </p:cNvPr>
          <p:cNvSpPr/>
          <p:nvPr/>
        </p:nvSpPr>
        <p:spPr>
          <a:xfrm rot="5400000">
            <a:off x="3321147" y="3618334"/>
            <a:ext cx="5092507" cy="50800"/>
          </a:xfrm>
          <a:prstGeom prst="line">
            <a:avLst/>
          </a:prstGeom>
          <a:ln w="9525" cap="rnd">
            <a:solidFill>
              <a:srgbClr val="292929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29454BF6-5CF9-605C-F5B1-B069DA8CB3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20156412">
            <a:off x="99568" y="843864"/>
            <a:ext cx="4596954" cy="1371600"/>
          </a:xfrm>
          <a:prstGeom prst="rect">
            <a:avLst/>
          </a:prstGeom>
        </p:spPr>
        <p:txBody>
          <a:bodyPr/>
          <a:lstStyle>
            <a:lvl1pPr>
              <a:defRPr sz="1733" b="1" i="0">
                <a:latin typeface="Poppins" pitchFamily="2" charset="77"/>
                <a:cs typeface="Poppins" pitchFamily="2" charset="77"/>
              </a:defRPr>
            </a:lvl1pPr>
            <a:lvl2pPr>
              <a:defRPr sz="1733" b="1" i="0">
                <a:latin typeface="Poppins" pitchFamily="2" charset="77"/>
                <a:cs typeface="Poppins" pitchFamily="2" charset="77"/>
              </a:defRPr>
            </a:lvl2pPr>
            <a:lvl3pPr>
              <a:defRPr sz="1733" b="1" i="0">
                <a:latin typeface="Poppins" pitchFamily="2" charset="77"/>
                <a:cs typeface="Poppins" pitchFamily="2" charset="77"/>
              </a:defRPr>
            </a:lvl3pPr>
            <a:lvl4pPr>
              <a:defRPr sz="1733" b="1" i="0">
                <a:latin typeface="Poppins" pitchFamily="2" charset="77"/>
                <a:cs typeface="Poppins" pitchFamily="2" charset="77"/>
              </a:defRPr>
            </a:lvl4pPr>
            <a:lvl5pPr>
              <a:defRPr sz="1733" b="1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1EE77FFA-5EF5-8069-8E06-B478DCAA1005}"/>
              </a:ext>
            </a:extLst>
          </p:cNvPr>
          <p:cNvSpPr txBox="1"/>
          <p:nvPr/>
        </p:nvSpPr>
        <p:spPr>
          <a:xfrm>
            <a:off x="8737600" y="6535579"/>
            <a:ext cx="3352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40E7199-AB3D-0B9E-F54D-7ADEDF56C1AD}"/>
              </a:ext>
            </a:extLst>
          </p:cNvPr>
          <p:cNvCxnSpPr/>
          <p:nvPr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4">
            <a:extLst>
              <a:ext uri="{FF2B5EF4-FFF2-40B4-BE49-F238E27FC236}">
                <a16:creationId xmlns:a16="http://schemas.microsoft.com/office/drawing/2014/main" id="{0DC41606-F8D8-48F0-818F-2D21E010B57C}"/>
              </a:ext>
            </a:extLst>
          </p:cNvPr>
          <p:cNvGrpSpPr>
            <a:grpSpLocks noChangeAspect="1"/>
          </p:cNvGrpSpPr>
          <p:nvPr userDrawn="1"/>
        </p:nvGrpSpPr>
        <p:grpSpPr>
          <a:xfrm rot="12042674">
            <a:off x="-772341" y="-1725855"/>
            <a:ext cx="6801264" cy="6801264"/>
            <a:chOff x="0" y="0"/>
            <a:chExt cx="6350000" cy="6350000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FC94BC9-5B15-4B56-A690-FECF762B5CBB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alphaModFix amt="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8" name="AutoShape 3">
            <a:extLst>
              <a:ext uri="{FF2B5EF4-FFF2-40B4-BE49-F238E27FC236}">
                <a16:creationId xmlns:a16="http://schemas.microsoft.com/office/drawing/2014/main" id="{05864A85-CEE8-46AA-A2BA-7208DA74684D}"/>
              </a:ext>
            </a:extLst>
          </p:cNvPr>
          <p:cNvSpPr/>
          <p:nvPr userDrawn="1"/>
        </p:nvSpPr>
        <p:spPr>
          <a:xfrm rot="5400000">
            <a:off x="3321147" y="3618334"/>
            <a:ext cx="5092507" cy="50800"/>
          </a:xfrm>
          <a:prstGeom prst="line">
            <a:avLst/>
          </a:prstGeom>
          <a:ln w="9525" cap="rnd">
            <a:solidFill>
              <a:srgbClr val="292929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9" name="ZoneTexte 12">
            <a:extLst>
              <a:ext uri="{FF2B5EF4-FFF2-40B4-BE49-F238E27FC236}">
                <a16:creationId xmlns:a16="http://schemas.microsoft.com/office/drawing/2014/main" id="{ACFCD919-A456-47FA-9110-B718DB606E23}"/>
              </a:ext>
            </a:extLst>
          </p:cNvPr>
          <p:cNvSpPr txBox="1"/>
          <p:nvPr userDrawn="1"/>
        </p:nvSpPr>
        <p:spPr>
          <a:xfrm>
            <a:off x="8737600" y="6535579"/>
            <a:ext cx="33528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20" name="Connecteur droit 14">
            <a:extLst>
              <a:ext uri="{FF2B5EF4-FFF2-40B4-BE49-F238E27FC236}">
                <a16:creationId xmlns:a16="http://schemas.microsoft.com/office/drawing/2014/main" id="{EB59CCBE-A513-44EF-B0D6-9E2282369AD8}"/>
              </a:ext>
            </a:extLst>
          </p:cNvPr>
          <p:cNvCxnSpPr/>
          <p:nvPr userDrawn="1"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559826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">
            <a:extLst>
              <a:ext uri="{FF2B5EF4-FFF2-40B4-BE49-F238E27FC236}">
                <a16:creationId xmlns:a16="http://schemas.microsoft.com/office/drawing/2014/main" id="{E6EF86D9-21F0-B1D3-2DCB-0E073A3EA68E}"/>
              </a:ext>
            </a:extLst>
          </p:cNvPr>
          <p:cNvGrpSpPr>
            <a:grpSpLocks noChangeAspect="1"/>
          </p:cNvGrpSpPr>
          <p:nvPr/>
        </p:nvGrpSpPr>
        <p:grpSpPr>
          <a:xfrm>
            <a:off x="9018827" y="3617598"/>
            <a:ext cx="3881553" cy="3881553"/>
            <a:chOff x="0" y="0"/>
            <a:chExt cx="6350000" cy="6350000"/>
          </a:xfrm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815721DF-CE49-1528-21D3-75ADA5689DAC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74AEF1BC-A3D0-8FBA-B1CD-F9CACE4B5804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EEF05428-CA87-64CB-3D38-205817364CA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re 1">
            <a:extLst>
              <a:ext uri="{FF2B5EF4-FFF2-40B4-BE49-F238E27FC236}">
                <a16:creationId xmlns:a16="http://schemas.microsoft.com/office/drawing/2014/main" id="{10CFD663-554B-AEA0-227A-D0020BED4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356A9C79-E0DA-2C04-F91A-A03A612D51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11" name="Group 3">
            <a:extLst>
              <a:ext uri="{FF2B5EF4-FFF2-40B4-BE49-F238E27FC236}">
                <a16:creationId xmlns:a16="http://schemas.microsoft.com/office/drawing/2014/main" id="{344E2483-53BB-4026-A87C-38BB73F8084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018827" y="3617598"/>
            <a:ext cx="3881553" cy="3881553"/>
            <a:chOff x="0" y="0"/>
            <a:chExt cx="6350000" cy="6350000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829C1CC5-ECF5-4C8B-ABA3-140C13F8967D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6" name="ZoneTexte 9">
            <a:extLst>
              <a:ext uri="{FF2B5EF4-FFF2-40B4-BE49-F238E27FC236}">
                <a16:creationId xmlns:a16="http://schemas.microsoft.com/office/drawing/2014/main" id="{49B267D3-4667-4928-BC52-B2B37EC0DC23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7" name="Connecteur droit 12">
            <a:extLst>
              <a:ext uri="{FF2B5EF4-FFF2-40B4-BE49-F238E27FC236}">
                <a16:creationId xmlns:a16="http://schemas.microsoft.com/office/drawing/2014/main" id="{68F5E20C-4A10-4D5F-97F2-2E6E448E123C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69943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3650337-9033-FF5E-51B6-2303826B0E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8001" y="1244600"/>
            <a:ext cx="5435600" cy="49455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9440C862-784F-E2C2-886F-26668F2D732A}"/>
              </a:ext>
            </a:extLst>
          </p:cNvPr>
          <p:cNvGrpSpPr/>
          <p:nvPr/>
        </p:nvGrpSpPr>
        <p:grpSpPr>
          <a:xfrm rot="3608892">
            <a:off x="8774233" y="6100994"/>
            <a:ext cx="717435" cy="968494"/>
            <a:chOff x="9824704" y="-2020392"/>
            <a:chExt cx="9270979" cy="12307392"/>
          </a:xfrm>
        </p:grpSpPr>
        <p:grpSp>
          <p:nvGrpSpPr>
            <p:cNvPr id="8" name="Group 3">
              <a:extLst>
                <a:ext uri="{FF2B5EF4-FFF2-40B4-BE49-F238E27FC236}">
                  <a16:creationId xmlns:a16="http://schemas.microsoft.com/office/drawing/2014/main" id="{FC664A38-FFB6-95B8-4D0B-5594950345E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17" name="Freeform 4">
                <a:extLst>
                  <a:ext uri="{FF2B5EF4-FFF2-40B4-BE49-F238E27FC236}">
                    <a16:creationId xmlns:a16="http://schemas.microsoft.com/office/drawing/2014/main" id="{FC65CC07-FA89-645E-05F6-4682617E5751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9" name="Group 5">
              <a:extLst>
                <a:ext uri="{FF2B5EF4-FFF2-40B4-BE49-F238E27FC236}">
                  <a16:creationId xmlns:a16="http://schemas.microsoft.com/office/drawing/2014/main" id="{4FF1A394-D2CA-1AAB-EC81-47E59C1A54F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C620384C-BBBF-F76F-3BE5-7B143F4229FF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0" name="Group 7">
              <a:extLst>
                <a:ext uri="{FF2B5EF4-FFF2-40B4-BE49-F238E27FC236}">
                  <a16:creationId xmlns:a16="http://schemas.microsoft.com/office/drawing/2014/main" id="{11FE0FAC-BB70-281A-04F9-8D183F02357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C0773B33-7935-36AE-5DDD-89F1F8C9CC87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1" name="Group 9">
              <a:extLst>
                <a:ext uri="{FF2B5EF4-FFF2-40B4-BE49-F238E27FC236}">
                  <a16:creationId xmlns:a16="http://schemas.microsoft.com/office/drawing/2014/main" id="{97A04955-0EB6-236A-9A8A-193FBDA9C7F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E8BCB372-1D58-5FC9-1CCB-13FC7E8EC6B9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C6D9524-CEAA-B1FE-A06D-7205621E199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2D6273D6-E45E-8965-36FC-D331666B69E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1457F6D-D459-E725-646D-C9AFE4BED8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8522" y="124460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10198595-669E-5CD1-643E-C781B091C6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158999"/>
            <a:ext cx="5183717" cy="403119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D6AC2CD9-5DFE-0E63-86C2-7DCC72DF8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7D738DFE-3F42-C4F4-034D-2428872458F3}"/>
              </a:ext>
            </a:extLst>
          </p:cNvPr>
          <p:cNvSpPr txBox="1"/>
          <p:nvPr/>
        </p:nvSpPr>
        <p:spPr>
          <a:xfrm>
            <a:off x="9702800" y="6535579"/>
            <a:ext cx="279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09AEB984-B2B6-9D61-4AFB-DAD2DB70C812}"/>
              </a:ext>
            </a:extLst>
          </p:cNvPr>
          <p:cNvCxnSpPr>
            <a:cxnSpLocks/>
          </p:cNvCxnSpPr>
          <p:nvPr/>
        </p:nvCxnSpPr>
        <p:spPr>
          <a:xfrm flipV="1">
            <a:off x="8537452" y="6477001"/>
            <a:ext cx="3654549" cy="158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e 6">
            <a:extLst>
              <a:ext uri="{FF2B5EF4-FFF2-40B4-BE49-F238E27FC236}">
                <a16:creationId xmlns:a16="http://schemas.microsoft.com/office/drawing/2014/main" id="{7E7F1C40-9256-405B-929E-BCD7DB69DE70}"/>
              </a:ext>
            </a:extLst>
          </p:cNvPr>
          <p:cNvGrpSpPr/>
          <p:nvPr userDrawn="1"/>
        </p:nvGrpSpPr>
        <p:grpSpPr>
          <a:xfrm rot="3608892">
            <a:off x="8774233" y="6100994"/>
            <a:ext cx="717435" cy="968494"/>
            <a:chOff x="9824704" y="-2020392"/>
            <a:chExt cx="9270979" cy="12307392"/>
          </a:xfrm>
        </p:grpSpPr>
        <p:grpSp>
          <p:nvGrpSpPr>
            <p:cNvPr id="24" name="Group 3">
              <a:extLst>
                <a:ext uri="{FF2B5EF4-FFF2-40B4-BE49-F238E27FC236}">
                  <a16:creationId xmlns:a16="http://schemas.microsoft.com/office/drawing/2014/main" id="{6178A4A1-8F9B-4306-841B-CC9926C69853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33" name="Freeform 4">
                <a:extLst>
                  <a:ext uri="{FF2B5EF4-FFF2-40B4-BE49-F238E27FC236}">
                    <a16:creationId xmlns:a16="http://schemas.microsoft.com/office/drawing/2014/main" id="{864C3BF5-45D6-4698-8652-9BDF6A34B751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5" name="Group 5">
              <a:extLst>
                <a:ext uri="{FF2B5EF4-FFF2-40B4-BE49-F238E27FC236}">
                  <a16:creationId xmlns:a16="http://schemas.microsoft.com/office/drawing/2014/main" id="{46B6E6C5-5BDE-40D0-A011-1ABEE10023AD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32" name="Freeform 6">
                <a:extLst>
                  <a:ext uri="{FF2B5EF4-FFF2-40B4-BE49-F238E27FC236}">
                    <a16:creationId xmlns:a16="http://schemas.microsoft.com/office/drawing/2014/main" id="{6C7C1282-BA2E-4903-A381-CAF29584E3FF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6" name="Group 7">
              <a:extLst>
                <a:ext uri="{FF2B5EF4-FFF2-40B4-BE49-F238E27FC236}">
                  <a16:creationId xmlns:a16="http://schemas.microsoft.com/office/drawing/2014/main" id="{79B91CC2-7E55-4480-B4BB-BE320E96E2BC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885D579E-64D3-4564-BEA1-70040456BECF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7" name="Group 9">
              <a:extLst>
                <a:ext uri="{FF2B5EF4-FFF2-40B4-BE49-F238E27FC236}">
                  <a16:creationId xmlns:a16="http://schemas.microsoft.com/office/drawing/2014/main" id="{4A2805AC-CCD7-4244-8ED3-DF401119ECF0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E0104C6B-3010-41C8-902D-E21F6331D40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ADBF3648-13C6-4C7C-9D75-8EEFAC32761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74C77D9D-0C4A-45C5-9542-861378EEE76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34" name="ZoneTexte 20">
            <a:extLst>
              <a:ext uri="{FF2B5EF4-FFF2-40B4-BE49-F238E27FC236}">
                <a16:creationId xmlns:a16="http://schemas.microsoft.com/office/drawing/2014/main" id="{7D4ECD9C-34E5-47BA-A830-9E794406C98B}"/>
              </a:ext>
            </a:extLst>
          </p:cNvPr>
          <p:cNvSpPr txBox="1"/>
          <p:nvPr userDrawn="1"/>
        </p:nvSpPr>
        <p:spPr>
          <a:xfrm>
            <a:off x="9702800" y="6535579"/>
            <a:ext cx="27940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5" name="Connecteur droit 21">
            <a:extLst>
              <a:ext uri="{FF2B5EF4-FFF2-40B4-BE49-F238E27FC236}">
                <a16:creationId xmlns:a16="http://schemas.microsoft.com/office/drawing/2014/main" id="{5749C472-EBF4-421F-91F4-06CA75977667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7452" y="6477001"/>
            <a:ext cx="3654549" cy="158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431028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1457F6D-D459-E725-646D-C9AFE4BED8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2206" y="124460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10198595-669E-5CD1-643E-C781B091C6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5884" y="2158999"/>
            <a:ext cx="5183717" cy="403119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D6AC2CD9-5DFE-0E63-86C2-7DCC72DF8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CB08C4A3-70DC-084E-18F4-3F50034EA23F}"/>
              </a:ext>
            </a:extLst>
          </p:cNvPr>
          <p:cNvGrpSpPr/>
          <p:nvPr/>
        </p:nvGrpSpPr>
        <p:grpSpPr>
          <a:xfrm rot="3608892">
            <a:off x="8948733" y="6087713"/>
            <a:ext cx="717435" cy="968494"/>
            <a:chOff x="9824704" y="-2020392"/>
            <a:chExt cx="9270979" cy="12307392"/>
          </a:xfrm>
        </p:grpSpPr>
        <p:grpSp>
          <p:nvGrpSpPr>
            <p:cNvPr id="22" name="Group 3">
              <a:extLst>
                <a:ext uri="{FF2B5EF4-FFF2-40B4-BE49-F238E27FC236}">
                  <a16:creationId xmlns:a16="http://schemas.microsoft.com/office/drawing/2014/main" id="{DDFA6BFA-2FE7-99BE-758C-9569FDDD44C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31" name="Freeform 4">
                <a:extLst>
                  <a:ext uri="{FF2B5EF4-FFF2-40B4-BE49-F238E27FC236}">
                    <a16:creationId xmlns:a16="http://schemas.microsoft.com/office/drawing/2014/main" id="{CE46B478-2F0D-825F-BF16-2A659AFCFEE5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3" name="Group 5">
              <a:extLst>
                <a:ext uri="{FF2B5EF4-FFF2-40B4-BE49-F238E27FC236}">
                  <a16:creationId xmlns:a16="http://schemas.microsoft.com/office/drawing/2014/main" id="{E283E192-00EF-7A8E-7AD8-D22CDB268D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30" name="Freeform 6">
                <a:extLst>
                  <a:ext uri="{FF2B5EF4-FFF2-40B4-BE49-F238E27FC236}">
                    <a16:creationId xmlns:a16="http://schemas.microsoft.com/office/drawing/2014/main" id="{90DD8469-F02C-6A43-A19C-5E64A23DEE4C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4" name="Group 7">
              <a:extLst>
                <a:ext uri="{FF2B5EF4-FFF2-40B4-BE49-F238E27FC236}">
                  <a16:creationId xmlns:a16="http://schemas.microsoft.com/office/drawing/2014/main" id="{1643DB72-1316-921F-DFE3-1006B726EA5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29" name="Freeform 8">
                <a:extLst>
                  <a:ext uri="{FF2B5EF4-FFF2-40B4-BE49-F238E27FC236}">
                    <a16:creationId xmlns:a16="http://schemas.microsoft.com/office/drawing/2014/main" id="{2FE68160-19F0-F1F0-B9C4-3C0FD6E8BC67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5" name="Group 9">
              <a:extLst>
                <a:ext uri="{FF2B5EF4-FFF2-40B4-BE49-F238E27FC236}">
                  <a16:creationId xmlns:a16="http://schemas.microsoft.com/office/drawing/2014/main" id="{2EE0AB81-F1DD-0DB6-2D0B-34FFABF60A4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2B4CB59E-473B-02BD-E5D1-80EEE7B1CF0D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6" name="Group 11">
              <a:extLst>
                <a:ext uri="{FF2B5EF4-FFF2-40B4-BE49-F238E27FC236}">
                  <a16:creationId xmlns:a16="http://schemas.microsoft.com/office/drawing/2014/main" id="{3287D850-881C-13A4-F56F-ABD12F4C26F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3E417AFC-2CF8-8F7F-1F6D-7F7632F3DDF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32" name="ZoneTexte 31">
            <a:extLst>
              <a:ext uri="{FF2B5EF4-FFF2-40B4-BE49-F238E27FC236}">
                <a16:creationId xmlns:a16="http://schemas.microsoft.com/office/drawing/2014/main" id="{6FEC2391-8F45-61C5-416A-6F010BFAB883}"/>
              </a:ext>
            </a:extLst>
          </p:cNvPr>
          <p:cNvSpPr txBox="1"/>
          <p:nvPr/>
        </p:nvSpPr>
        <p:spPr>
          <a:xfrm>
            <a:off x="9804400" y="6535579"/>
            <a:ext cx="2692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C7CA92CD-6A87-549B-196E-D39AEE96F3AB}"/>
              </a:ext>
            </a:extLst>
          </p:cNvPr>
          <p:cNvCxnSpPr>
            <a:cxnSpLocks/>
          </p:cNvCxnSpPr>
          <p:nvPr/>
        </p:nvCxnSpPr>
        <p:spPr>
          <a:xfrm>
            <a:off x="8711951" y="6477000"/>
            <a:ext cx="3480049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space réservé pour une image  3">
            <a:extLst>
              <a:ext uri="{FF2B5EF4-FFF2-40B4-BE49-F238E27FC236}">
                <a16:creationId xmlns:a16="http://schemas.microsoft.com/office/drawing/2014/main" id="{7117B56B-855E-289E-32EB-376310D2D6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69000" y="1244600"/>
            <a:ext cx="5511801" cy="49455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grpSp>
        <p:nvGrpSpPr>
          <p:cNvPr id="35" name="Groupe 20">
            <a:extLst>
              <a:ext uri="{FF2B5EF4-FFF2-40B4-BE49-F238E27FC236}">
                <a16:creationId xmlns:a16="http://schemas.microsoft.com/office/drawing/2014/main" id="{478EA35C-8E60-4A6F-AD34-06C346E0E9DC}"/>
              </a:ext>
            </a:extLst>
          </p:cNvPr>
          <p:cNvGrpSpPr/>
          <p:nvPr userDrawn="1"/>
        </p:nvGrpSpPr>
        <p:grpSpPr>
          <a:xfrm rot="3608892">
            <a:off x="8948733" y="6087713"/>
            <a:ext cx="717435" cy="968494"/>
            <a:chOff x="9824704" y="-2020392"/>
            <a:chExt cx="9270979" cy="12307392"/>
          </a:xfrm>
        </p:grpSpPr>
        <p:grpSp>
          <p:nvGrpSpPr>
            <p:cNvPr id="36" name="Group 3">
              <a:extLst>
                <a:ext uri="{FF2B5EF4-FFF2-40B4-BE49-F238E27FC236}">
                  <a16:creationId xmlns:a16="http://schemas.microsoft.com/office/drawing/2014/main" id="{1589983F-4637-43BF-9129-72889759EF48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45" name="Freeform 4">
                <a:extLst>
                  <a:ext uri="{FF2B5EF4-FFF2-40B4-BE49-F238E27FC236}">
                    <a16:creationId xmlns:a16="http://schemas.microsoft.com/office/drawing/2014/main" id="{4BF748F0-FD1D-462E-8A17-42BB7DA902E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7" name="Group 5">
              <a:extLst>
                <a:ext uri="{FF2B5EF4-FFF2-40B4-BE49-F238E27FC236}">
                  <a16:creationId xmlns:a16="http://schemas.microsoft.com/office/drawing/2014/main" id="{EFC4E96A-54C2-4484-B8D5-12E5BA8198A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44" name="Freeform 6">
                <a:extLst>
                  <a:ext uri="{FF2B5EF4-FFF2-40B4-BE49-F238E27FC236}">
                    <a16:creationId xmlns:a16="http://schemas.microsoft.com/office/drawing/2014/main" id="{477F6425-DFFE-43E8-B815-EEA4FF765DB6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8" name="Group 7">
              <a:extLst>
                <a:ext uri="{FF2B5EF4-FFF2-40B4-BE49-F238E27FC236}">
                  <a16:creationId xmlns:a16="http://schemas.microsoft.com/office/drawing/2014/main" id="{4D654E09-182F-4037-8D49-08BBF3DDCC1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43" name="Freeform 8">
                <a:extLst>
                  <a:ext uri="{FF2B5EF4-FFF2-40B4-BE49-F238E27FC236}">
                    <a16:creationId xmlns:a16="http://schemas.microsoft.com/office/drawing/2014/main" id="{A7068070-8F55-48AB-85BD-36BBC4089F14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9" name="Group 9">
              <a:extLst>
                <a:ext uri="{FF2B5EF4-FFF2-40B4-BE49-F238E27FC236}">
                  <a16:creationId xmlns:a16="http://schemas.microsoft.com/office/drawing/2014/main" id="{71FD5FC3-895A-40CB-A11E-77CE78A2C3C3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42" name="Freeform 10">
                <a:extLst>
                  <a:ext uri="{FF2B5EF4-FFF2-40B4-BE49-F238E27FC236}">
                    <a16:creationId xmlns:a16="http://schemas.microsoft.com/office/drawing/2014/main" id="{BC2F9E8F-FC58-4968-9008-3B00B3C8AF1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40" name="Group 11">
              <a:extLst>
                <a:ext uri="{FF2B5EF4-FFF2-40B4-BE49-F238E27FC236}">
                  <a16:creationId xmlns:a16="http://schemas.microsoft.com/office/drawing/2014/main" id="{0B9FB7AA-2E1A-46F5-8007-3FDAF1AD1BFB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41" name="Freeform 12">
                <a:extLst>
                  <a:ext uri="{FF2B5EF4-FFF2-40B4-BE49-F238E27FC236}">
                    <a16:creationId xmlns:a16="http://schemas.microsoft.com/office/drawing/2014/main" id="{00116D8C-306F-479B-9820-AC099721FF57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46" name="ZoneTexte 31">
            <a:extLst>
              <a:ext uri="{FF2B5EF4-FFF2-40B4-BE49-F238E27FC236}">
                <a16:creationId xmlns:a16="http://schemas.microsoft.com/office/drawing/2014/main" id="{56F50333-62A8-4708-BC53-E9F6A46EBF5A}"/>
              </a:ext>
            </a:extLst>
          </p:cNvPr>
          <p:cNvSpPr txBox="1"/>
          <p:nvPr userDrawn="1"/>
        </p:nvSpPr>
        <p:spPr>
          <a:xfrm>
            <a:off x="9804400" y="6535579"/>
            <a:ext cx="26924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47" name="Connecteur droit 32">
            <a:extLst>
              <a:ext uri="{FF2B5EF4-FFF2-40B4-BE49-F238E27FC236}">
                <a16:creationId xmlns:a16="http://schemas.microsoft.com/office/drawing/2014/main" id="{43B2C7BE-B630-4CBD-89F9-011885FAA7C0}"/>
              </a:ext>
            </a:extLst>
          </p:cNvPr>
          <p:cNvCxnSpPr>
            <a:cxnSpLocks/>
          </p:cNvCxnSpPr>
          <p:nvPr userDrawn="1"/>
        </p:nvCxnSpPr>
        <p:spPr>
          <a:xfrm>
            <a:off x="8711951" y="6477000"/>
            <a:ext cx="3480049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886952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2">
    <p:bg>
      <p:bgPr>
        <a:solidFill>
          <a:srgbClr val="0B81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9C2699-AC7A-E9E6-7BA2-B178F4AB02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3600" y="1122892"/>
            <a:ext cx="9804400" cy="2387600"/>
          </a:xfrm>
          <a:prstGeom prst="rect">
            <a:avLst/>
          </a:prstGeom>
        </p:spPr>
        <p:txBody>
          <a:bodyPr anchor="b"/>
          <a:lstStyle>
            <a:lvl1pPr algn="l">
              <a:defRPr sz="64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15A4625-51AA-B632-6852-324A2C3FE561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A5FF4C7F-E857-B170-8567-5B89E8D8AAAF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8">
            <a:extLst>
              <a:ext uri="{FF2B5EF4-FFF2-40B4-BE49-F238E27FC236}">
                <a16:creationId xmlns:a16="http://schemas.microsoft.com/office/drawing/2014/main" id="{F89F8A43-6324-4C46-ABF6-C9E482EA2835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6" name="Connecteur droit 9">
            <a:extLst>
              <a:ext uri="{FF2B5EF4-FFF2-40B4-BE49-F238E27FC236}">
                <a16:creationId xmlns:a16="http://schemas.microsoft.com/office/drawing/2014/main" id="{AC733A90-1D3D-4E91-8791-4DBB5593C10B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12760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>
            <a:extLst>
              <a:ext uri="{FF2B5EF4-FFF2-40B4-BE49-F238E27FC236}">
                <a16:creationId xmlns:a16="http://schemas.microsoft.com/office/drawing/2014/main" id="{1CAF00C5-F7DA-4755-E96D-64A96C08B39E}"/>
              </a:ext>
            </a:extLst>
          </p:cNvPr>
          <p:cNvGrpSpPr/>
          <p:nvPr/>
        </p:nvGrpSpPr>
        <p:grpSpPr>
          <a:xfrm rot="3608892">
            <a:off x="4170740" y="6087713"/>
            <a:ext cx="717435" cy="968494"/>
            <a:chOff x="9824704" y="-2020392"/>
            <a:chExt cx="9270979" cy="12307392"/>
          </a:xfrm>
        </p:grpSpPr>
        <p:grpSp>
          <p:nvGrpSpPr>
            <p:cNvPr id="18" name="Group 3">
              <a:extLst>
                <a:ext uri="{FF2B5EF4-FFF2-40B4-BE49-F238E27FC236}">
                  <a16:creationId xmlns:a16="http://schemas.microsoft.com/office/drawing/2014/main" id="{D44535E7-C4DC-78DB-A7A8-6270D639D59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27" name="Freeform 4">
                <a:extLst>
                  <a:ext uri="{FF2B5EF4-FFF2-40B4-BE49-F238E27FC236}">
                    <a16:creationId xmlns:a16="http://schemas.microsoft.com/office/drawing/2014/main" id="{A37C8411-6E3C-DB79-4F3B-86873DF6054D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9" name="Group 5">
              <a:extLst>
                <a:ext uri="{FF2B5EF4-FFF2-40B4-BE49-F238E27FC236}">
                  <a16:creationId xmlns:a16="http://schemas.microsoft.com/office/drawing/2014/main" id="{B0CB359F-A173-B531-357E-06D398B7AB1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D3A751FA-5239-5689-E97A-22A3E01E423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0" name="Group 7">
              <a:extLst>
                <a:ext uri="{FF2B5EF4-FFF2-40B4-BE49-F238E27FC236}">
                  <a16:creationId xmlns:a16="http://schemas.microsoft.com/office/drawing/2014/main" id="{B4AD2B37-84FA-623C-764F-410A0D79FD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1664A612-F7DB-74A1-5454-42692D5B2B28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1" name="Group 9">
              <a:extLst>
                <a:ext uri="{FF2B5EF4-FFF2-40B4-BE49-F238E27FC236}">
                  <a16:creationId xmlns:a16="http://schemas.microsoft.com/office/drawing/2014/main" id="{F9A50F3A-CC65-9428-CA94-85FC043A5A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24" name="Freeform 10">
                <a:extLst>
                  <a:ext uri="{FF2B5EF4-FFF2-40B4-BE49-F238E27FC236}">
                    <a16:creationId xmlns:a16="http://schemas.microsoft.com/office/drawing/2014/main" id="{B8460C0A-E74C-758D-A48E-B995FA25B9A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2" name="Group 11">
              <a:extLst>
                <a:ext uri="{FF2B5EF4-FFF2-40B4-BE49-F238E27FC236}">
                  <a16:creationId xmlns:a16="http://schemas.microsoft.com/office/drawing/2014/main" id="{D6838A77-76A0-D0FF-5F1A-4E295F1F4E6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1A8BC44C-8E16-7A0F-96B8-1BDFC0A0A7B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28" name="ZoneTexte 27">
            <a:extLst>
              <a:ext uri="{FF2B5EF4-FFF2-40B4-BE49-F238E27FC236}">
                <a16:creationId xmlns:a16="http://schemas.microsoft.com/office/drawing/2014/main" id="{61B6D1A2-E21B-8081-F592-001617AE51D2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 err="1">
                <a:latin typeface="Poppins" pitchFamily="2" charset="77"/>
                <a:cs typeface="Poppins" pitchFamily="2" charset="77"/>
              </a:rPr>
              <a:t>Comprehensive</a:t>
            </a:r>
            <a:r>
              <a:rPr lang="fr-FR" sz="1200" dirty="0">
                <a:latin typeface="Poppins" pitchFamily="2" charset="77"/>
                <a:cs typeface="Poppins" pitchFamily="2" charset="77"/>
              </a:rPr>
              <a:t> Training 2022</a:t>
            </a:r>
          </a:p>
        </p:txBody>
      </p: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6256D9B0-C816-675E-C239-53EFB72DE25A}"/>
              </a:ext>
            </a:extLst>
          </p:cNvPr>
          <p:cNvCxnSpPr>
            <a:cxnSpLocks/>
          </p:cNvCxnSpPr>
          <p:nvPr/>
        </p:nvCxnSpPr>
        <p:spPr>
          <a:xfrm>
            <a:off x="-50800" y="6492874"/>
            <a:ext cx="508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re 1">
            <a:extLst>
              <a:ext uri="{FF2B5EF4-FFF2-40B4-BE49-F238E27FC236}">
                <a16:creationId xmlns:a16="http://schemas.microsoft.com/office/drawing/2014/main" id="{E25F335D-C4FF-B8A9-66BE-917BC7B40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4EAFE968-A7A1-B80F-4139-D9795C9CC1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18217941"/>
      </p:ext>
    </p:extLst>
  </p:cSld>
  <p:clrMapOvr>
    <a:masterClrMapping/>
  </p:clrMapOvr>
  <p:hf sldNum="0" hdr="0" ft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4">
    <p:bg>
      <p:bgPr>
        <a:solidFill>
          <a:srgbClr val="2A99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6B0116-D034-7B82-665D-3BB36B4BC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889000"/>
            <a:ext cx="8566150" cy="557741"/>
          </a:xfrm>
          <a:prstGeom prst="rect">
            <a:avLst/>
          </a:prstGeom>
        </p:spPr>
        <p:txBody>
          <a:bodyPr anchor="b"/>
          <a:lstStyle>
            <a:lvl1pPr algn="ctr">
              <a:defRPr sz="24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FFCA881-C301-6987-35A4-2D7A1F0D048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73200" y="1614336"/>
            <a:ext cx="7924801" cy="4430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  <a:lvl2pPr marL="304815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220643-49B0-404B-2FFB-A4E3A84C40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flipH="1">
            <a:off x="5576444" y="3281588"/>
            <a:ext cx="7853771" cy="3455659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BBA06323-73C3-F075-50C6-5AFDD66F3B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36000" y="2921000"/>
            <a:ext cx="3403600" cy="1117600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  <a:lvl2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2pPr>
            <a:lvl3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3pPr>
            <a:lvl4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4pPr>
            <a:lvl5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71A552A1-A49E-3667-80E6-812C54F821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1850" y="2921000"/>
            <a:ext cx="4400550" cy="2844496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2pPr>
            <a:lvl3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3pPr>
            <a:lvl4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4pPr>
            <a:lvl5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3EAF698-867A-AA72-A3B9-C2FA8904A453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 2022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B980B541-87FF-6818-C5EF-62E1E62893EF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">
            <a:extLst>
              <a:ext uri="{FF2B5EF4-FFF2-40B4-BE49-F238E27FC236}">
                <a16:creationId xmlns:a16="http://schemas.microsoft.com/office/drawing/2014/main" id="{F7180E06-7FE9-4833-996C-2E88F2879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flipH="1">
            <a:off x="5576444" y="3281588"/>
            <a:ext cx="7853771" cy="3455659"/>
          </a:xfrm>
          <a:prstGeom prst="rect">
            <a:avLst/>
          </a:prstGeom>
        </p:spPr>
      </p:pic>
      <p:sp>
        <p:nvSpPr>
          <p:cNvPr id="14" name="ZoneTexte 11">
            <a:extLst>
              <a:ext uri="{FF2B5EF4-FFF2-40B4-BE49-F238E27FC236}">
                <a16:creationId xmlns:a16="http://schemas.microsoft.com/office/drawing/2014/main" id="{93A24646-3BB0-4861-BF60-37482A4F57FB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 2022</a:t>
            </a:r>
          </a:p>
        </p:txBody>
      </p:sp>
      <p:cxnSp>
        <p:nvCxnSpPr>
          <p:cNvPr id="15" name="Connecteur droit 12">
            <a:extLst>
              <a:ext uri="{FF2B5EF4-FFF2-40B4-BE49-F238E27FC236}">
                <a16:creationId xmlns:a16="http://schemas.microsoft.com/office/drawing/2014/main" id="{E32CBB25-74E7-4D31-AC37-0E273B9EE49D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03889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lide 7">
    <p:bg>
      <p:bgPr>
        <a:solidFill>
          <a:srgbClr val="FDD9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29B772-47FA-A598-5C21-372863AB2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28763"/>
            <a:ext cx="9271000" cy="1326091"/>
          </a:xfrm>
          <a:prstGeom prst="rect">
            <a:avLst/>
          </a:prstGeom>
        </p:spPr>
        <p:txBody>
          <a:bodyPr/>
          <a:lstStyle>
            <a:lvl1pPr algn="ctr">
              <a:defRPr sz="8000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654D700-40AB-67FB-A664-06EABDDA417D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 2022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7070B578-4E2A-E210-3400-AB221B8B7B7D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8">
            <a:extLst>
              <a:ext uri="{FF2B5EF4-FFF2-40B4-BE49-F238E27FC236}">
                <a16:creationId xmlns:a16="http://schemas.microsoft.com/office/drawing/2014/main" id="{300D1424-CDF5-47C6-9FD9-76A8D4B5FE99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 2022</a:t>
            </a:r>
          </a:p>
        </p:txBody>
      </p:sp>
      <p:cxnSp>
        <p:nvCxnSpPr>
          <p:cNvPr id="6" name="Connecteur droit 9">
            <a:extLst>
              <a:ext uri="{FF2B5EF4-FFF2-40B4-BE49-F238E27FC236}">
                <a16:creationId xmlns:a16="http://schemas.microsoft.com/office/drawing/2014/main" id="{BD36A3D9-E296-4E03-BC20-595B36375D22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69463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8">
    <p:bg>
      <p:bgPr>
        <a:solidFill>
          <a:srgbClr val="FC7A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B178F2-1499-D8A5-397B-450410B1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457200"/>
            <a:ext cx="10081683" cy="787400"/>
          </a:xfrm>
          <a:prstGeom prst="rect">
            <a:avLst/>
          </a:prstGeom>
        </p:spPr>
        <p:txBody>
          <a:bodyPr anchor="b"/>
          <a:lstStyle>
            <a:lvl1pPr>
              <a:defRPr sz="44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2B305B0-6FF4-8121-C0C8-F8A11F3E94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0317" y="1549400"/>
            <a:ext cx="10515600" cy="43116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  <a:lvl2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2pPr>
            <a:lvl3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3pPr>
            <a:lvl4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4pPr>
            <a:lvl5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240841F2-E156-7087-C5E5-65CFD62F7B23}"/>
              </a:ext>
            </a:extLst>
          </p:cNvPr>
          <p:cNvGrpSpPr/>
          <p:nvPr/>
        </p:nvGrpSpPr>
        <p:grpSpPr>
          <a:xfrm>
            <a:off x="6691079" y="0"/>
            <a:ext cx="5500921" cy="6909709"/>
            <a:chOff x="0" y="0"/>
            <a:chExt cx="11001842" cy="13819417"/>
          </a:xfrm>
        </p:grpSpPr>
        <p:pic>
          <p:nvPicPr>
            <p:cNvPr id="9" name="Picture 3">
              <a:extLst>
                <a:ext uri="{FF2B5EF4-FFF2-40B4-BE49-F238E27FC236}">
                  <a16:creationId xmlns:a16="http://schemas.microsoft.com/office/drawing/2014/main" id="{AE00EE06-6848-ACF3-C5A9-593CF19C0E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alphaModFix amt="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194" r="10194"/>
            <a:stretch>
              <a:fillRect/>
            </a:stretch>
          </p:blipFill>
          <p:spPr>
            <a:xfrm>
              <a:off x="0" y="0"/>
              <a:ext cx="11001842" cy="13819417"/>
            </a:xfrm>
            <a:prstGeom prst="rect">
              <a:avLst/>
            </a:prstGeom>
          </p:spPr>
        </p:pic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D01408C3-EE6B-65AE-8C0F-A04C9FF29190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</a:t>
            </a:r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Training 2022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F23883E3-AFF2-3F0D-FE24-5D37432AA8B8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2">
            <a:extLst>
              <a:ext uri="{FF2B5EF4-FFF2-40B4-BE49-F238E27FC236}">
                <a16:creationId xmlns:a16="http://schemas.microsoft.com/office/drawing/2014/main" id="{2997214C-0738-455A-8BC3-8F22C66AFAF2}"/>
              </a:ext>
            </a:extLst>
          </p:cNvPr>
          <p:cNvGrpSpPr/>
          <p:nvPr userDrawn="1"/>
        </p:nvGrpSpPr>
        <p:grpSpPr>
          <a:xfrm>
            <a:off x="6691079" y="0"/>
            <a:ext cx="5500921" cy="6909709"/>
            <a:chOff x="0" y="0"/>
            <a:chExt cx="11001842" cy="13819417"/>
          </a:xfrm>
        </p:grpSpPr>
        <p:pic>
          <p:nvPicPr>
            <p:cNvPr id="13" name="Picture 3">
              <a:extLst>
                <a:ext uri="{FF2B5EF4-FFF2-40B4-BE49-F238E27FC236}">
                  <a16:creationId xmlns:a16="http://schemas.microsoft.com/office/drawing/2014/main" id="{8D402436-BB8A-4B96-AEBD-0FD72F598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alphaModFix amt="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194" r="10194"/>
            <a:stretch>
              <a:fillRect/>
            </a:stretch>
          </p:blipFill>
          <p:spPr>
            <a:xfrm>
              <a:off x="0" y="0"/>
              <a:ext cx="11001842" cy="13819417"/>
            </a:xfrm>
            <a:prstGeom prst="rect">
              <a:avLst/>
            </a:prstGeom>
          </p:spPr>
        </p:pic>
      </p:grpSp>
      <p:sp>
        <p:nvSpPr>
          <p:cNvPr id="14" name="ZoneTexte 9">
            <a:extLst>
              <a:ext uri="{FF2B5EF4-FFF2-40B4-BE49-F238E27FC236}">
                <a16:creationId xmlns:a16="http://schemas.microsoft.com/office/drawing/2014/main" id="{3326AEC6-863E-4E73-AA6E-D0606D83FBB2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</a:t>
            </a:r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Training 2022</a:t>
            </a:r>
          </a:p>
        </p:txBody>
      </p:sp>
      <p:cxnSp>
        <p:nvCxnSpPr>
          <p:cNvPr id="15" name="Connecteur droit 10">
            <a:extLst>
              <a:ext uri="{FF2B5EF4-FFF2-40B4-BE49-F238E27FC236}">
                <a16:creationId xmlns:a16="http://schemas.microsoft.com/office/drawing/2014/main" id="{C0CD0A30-A1AC-4DD4-83E8-81FEDF4EF16B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54832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0">
    <p:bg>
      <p:bgPr>
        <a:solidFill>
          <a:srgbClr val="032B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F6950B-7896-288A-ED29-1588D0A3A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6091"/>
          </a:xfrm>
          <a:prstGeom prst="rect">
            <a:avLst/>
          </a:prstGeom>
        </p:spPr>
        <p:txBody>
          <a:bodyPr/>
          <a:lstStyle>
            <a:lvl1pPr>
              <a:defRPr sz="30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6DFED5E4-06C4-7DE1-A8E8-D6EEA6D6B8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874895"/>
              </p:ext>
            </p:extLst>
          </p:nvPr>
        </p:nvGraphicFramePr>
        <p:xfrm>
          <a:off x="851747" y="2209799"/>
          <a:ext cx="6311055" cy="3606796"/>
        </p:xfrm>
        <a:graphic>
          <a:graphicData uri="http://schemas.openxmlformats.org/drawingml/2006/table">
            <a:tbl>
              <a:tblPr/>
              <a:tblGrid>
                <a:gridCol w="210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ZoneTexte 9">
            <a:extLst>
              <a:ext uri="{FF2B5EF4-FFF2-40B4-BE49-F238E27FC236}">
                <a16:creationId xmlns:a16="http://schemas.microsoft.com/office/drawing/2014/main" id="{480B95F7-2882-9421-5183-9ACD82FCCF02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5138751E-9A12-2F27-0AF8-61120BED506E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15212B4F-30F0-4005-A57D-8A1015D1968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1784454"/>
              </p:ext>
            </p:extLst>
          </p:nvPr>
        </p:nvGraphicFramePr>
        <p:xfrm>
          <a:off x="851747" y="2209799"/>
          <a:ext cx="6311055" cy="3606796"/>
        </p:xfrm>
        <a:graphic>
          <a:graphicData uri="http://schemas.openxmlformats.org/drawingml/2006/table">
            <a:tbl>
              <a:tblPr/>
              <a:tblGrid>
                <a:gridCol w="210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ZoneTexte 9">
            <a:extLst>
              <a:ext uri="{FF2B5EF4-FFF2-40B4-BE49-F238E27FC236}">
                <a16:creationId xmlns:a16="http://schemas.microsoft.com/office/drawing/2014/main" id="{CCE17ABA-AE7D-4748-9B3B-2DC49F6C306A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8" name="Connecteur droit 11">
            <a:extLst>
              <a:ext uri="{FF2B5EF4-FFF2-40B4-BE49-F238E27FC236}">
                <a16:creationId xmlns:a16="http://schemas.microsoft.com/office/drawing/2014/main" id="{6801A306-D99E-4A67-A5F9-FC86007D93DF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880284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0">
    <p:bg>
      <p:bgPr>
        <a:solidFill>
          <a:srgbClr val="032B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F6950B-7896-288A-ED29-1588D0A3A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6091"/>
          </a:xfrm>
          <a:prstGeom prst="rect">
            <a:avLst/>
          </a:prstGeom>
        </p:spPr>
        <p:txBody>
          <a:bodyPr/>
          <a:lstStyle>
            <a:lvl1pPr>
              <a:defRPr sz="30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6DFED5E4-06C4-7DE1-A8E8-D6EEA6D6B8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874895"/>
              </p:ext>
            </p:extLst>
          </p:nvPr>
        </p:nvGraphicFramePr>
        <p:xfrm>
          <a:off x="851747" y="2209799"/>
          <a:ext cx="6311055" cy="3606796"/>
        </p:xfrm>
        <a:graphic>
          <a:graphicData uri="http://schemas.openxmlformats.org/drawingml/2006/table">
            <a:tbl>
              <a:tblPr/>
              <a:tblGrid>
                <a:gridCol w="210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ZoneTexte 9">
            <a:extLst>
              <a:ext uri="{FF2B5EF4-FFF2-40B4-BE49-F238E27FC236}">
                <a16:creationId xmlns:a16="http://schemas.microsoft.com/office/drawing/2014/main" id="{480B95F7-2882-9421-5183-9ACD82FCCF02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5138751E-9A12-2F27-0AF8-61120BED506E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15212B4F-30F0-4005-A57D-8A1015D1968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1784454"/>
              </p:ext>
            </p:extLst>
          </p:nvPr>
        </p:nvGraphicFramePr>
        <p:xfrm>
          <a:off x="851747" y="2209799"/>
          <a:ext cx="6311055" cy="3606796"/>
        </p:xfrm>
        <a:graphic>
          <a:graphicData uri="http://schemas.openxmlformats.org/drawingml/2006/table">
            <a:tbl>
              <a:tblPr/>
              <a:tblGrid>
                <a:gridCol w="210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ZoneTexte 9">
            <a:extLst>
              <a:ext uri="{FF2B5EF4-FFF2-40B4-BE49-F238E27FC236}">
                <a16:creationId xmlns:a16="http://schemas.microsoft.com/office/drawing/2014/main" id="{CCE17ABA-AE7D-4748-9B3B-2DC49F6C306A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8" name="Connecteur droit 11">
            <a:extLst>
              <a:ext uri="{FF2B5EF4-FFF2-40B4-BE49-F238E27FC236}">
                <a16:creationId xmlns:a16="http://schemas.microsoft.com/office/drawing/2014/main" id="{6801A306-D99E-4A67-A5F9-FC86007D93DF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880284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0">
    <p:bg>
      <p:bgPr>
        <a:solidFill>
          <a:srgbClr val="032B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F6950B-7896-288A-ED29-1588D0A3A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6091"/>
          </a:xfrm>
          <a:prstGeom prst="rect">
            <a:avLst/>
          </a:prstGeom>
        </p:spPr>
        <p:txBody>
          <a:bodyPr/>
          <a:lstStyle>
            <a:lvl1pPr>
              <a:defRPr sz="30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6DFED5E4-06C4-7DE1-A8E8-D6EEA6D6B8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874895"/>
              </p:ext>
            </p:extLst>
          </p:nvPr>
        </p:nvGraphicFramePr>
        <p:xfrm>
          <a:off x="851747" y="2209799"/>
          <a:ext cx="6311055" cy="3606796"/>
        </p:xfrm>
        <a:graphic>
          <a:graphicData uri="http://schemas.openxmlformats.org/drawingml/2006/table">
            <a:tbl>
              <a:tblPr/>
              <a:tblGrid>
                <a:gridCol w="210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ZoneTexte 9">
            <a:extLst>
              <a:ext uri="{FF2B5EF4-FFF2-40B4-BE49-F238E27FC236}">
                <a16:creationId xmlns:a16="http://schemas.microsoft.com/office/drawing/2014/main" id="{480B95F7-2882-9421-5183-9ACD82FCCF02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5138751E-9A12-2F27-0AF8-61120BED506E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15212B4F-30F0-4005-A57D-8A1015D1968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1784454"/>
              </p:ext>
            </p:extLst>
          </p:nvPr>
        </p:nvGraphicFramePr>
        <p:xfrm>
          <a:off x="851747" y="2209799"/>
          <a:ext cx="6311055" cy="3606796"/>
        </p:xfrm>
        <a:graphic>
          <a:graphicData uri="http://schemas.openxmlformats.org/drawingml/2006/table">
            <a:tbl>
              <a:tblPr/>
              <a:tblGrid>
                <a:gridCol w="210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ZoneTexte 9">
            <a:extLst>
              <a:ext uri="{FF2B5EF4-FFF2-40B4-BE49-F238E27FC236}">
                <a16:creationId xmlns:a16="http://schemas.microsoft.com/office/drawing/2014/main" id="{CCE17ABA-AE7D-4748-9B3B-2DC49F6C306A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8" name="Connecteur droit 11">
            <a:extLst>
              <a:ext uri="{FF2B5EF4-FFF2-40B4-BE49-F238E27FC236}">
                <a16:creationId xmlns:a16="http://schemas.microsoft.com/office/drawing/2014/main" id="{6801A306-D99E-4A67-A5F9-FC86007D93DF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88028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2">
    <p:bg>
      <p:bgPr>
        <a:solidFill>
          <a:srgbClr val="0B81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E78E7117-4A1C-F4A2-EB4A-6283B155A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11401"/>
            <a:ext cx="10515600" cy="1326091"/>
          </a:xfrm>
          <a:prstGeom prst="rect">
            <a:avLst/>
          </a:prstGeom>
        </p:spPr>
        <p:txBody>
          <a:bodyPr/>
          <a:lstStyle>
            <a:lvl1pPr>
              <a:defRPr sz="8000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91024A51-4193-8BB3-18C3-A7275B277A5F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6F7FC030-F010-B63C-5B90-9A3FD0605712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9">
            <a:extLst>
              <a:ext uri="{FF2B5EF4-FFF2-40B4-BE49-F238E27FC236}">
                <a16:creationId xmlns:a16="http://schemas.microsoft.com/office/drawing/2014/main" id="{2BFD5D57-2804-4D5E-B901-1691EB166FA1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6" name="Connecteur droit 10">
            <a:extLst>
              <a:ext uri="{FF2B5EF4-FFF2-40B4-BE49-F238E27FC236}">
                <a16:creationId xmlns:a16="http://schemas.microsoft.com/office/drawing/2014/main" id="{40285514-FF2D-4778-AD88-1B6AAED0D925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783207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3">
    <p:bg>
      <p:bgPr>
        <a:solidFill>
          <a:srgbClr val="FDD9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62C4CCC0-C8FF-3E89-EB2A-894261FB92FE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77B3945E-3250-1619-AD6C-D3FA26DE97C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3">
            <a:extLst>
              <a:ext uri="{FF2B5EF4-FFF2-40B4-BE49-F238E27FC236}">
                <a16:creationId xmlns:a16="http://schemas.microsoft.com/office/drawing/2014/main" id="{698D1918-A606-45EB-AB6E-473F5D2E6FCF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5648A5C3-764F-4FF6-A883-08BC19DA8E40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66180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4">
    <p:bg>
      <p:bgPr>
        <a:solidFill>
          <a:srgbClr val="FC7A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086DE16B-331B-EF9B-D63D-78B4178B23B4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F0333726-0B94-FE93-A8C7-FFCD9A29A6EE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3">
            <a:extLst>
              <a:ext uri="{FF2B5EF4-FFF2-40B4-BE49-F238E27FC236}">
                <a16:creationId xmlns:a16="http://schemas.microsoft.com/office/drawing/2014/main" id="{266439F6-92BF-4825-AFC1-146831AE9C61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51876523-A5BD-4FD3-B4C4-F3528541B2AA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827482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5">
    <p:bg>
      <p:bgPr>
        <a:solidFill>
          <a:srgbClr val="2A99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F4249773-7829-2639-CAD4-53A89902C226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EC69D02E-10EE-ED47-32D3-E99071AB4317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3">
            <a:extLst>
              <a:ext uri="{FF2B5EF4-FFF2-40B4-BE49-F238E27FC236}">
                <a16:creationId xmlns:a16="http://schemas.microsoft.com/office/drawing/2014/main" id="{5590F213-7120-421C-80C7-B69F7817CE16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0F9FA888-967F-4C13-9AF2-031A4BF5E147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5106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5196DB-ADD8-8377-22BF-115D9D266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9" y="365126"/>
            <a:ext cx="8572499" cy="473075"/>
          </a:xfrm>
          <a:prstGeom prst="rect">
            <a:avLst/>
          </a:prstGeom>
        </p:spPr>
        <p:txBody>
          <a:bodyPr/>
          <a:lstStyle>
            <a:lvl1pPr>
              <a:defRPr sz="2400" b="1" i="0"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F57EDF-BD9B-6D87-79CC-648270B254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7999" y="991513"/>
            <a:ext cx="8572500" cy="689286"/>
          </a:xfrm>
          <a:prstGeom prst="rect">
            <a:avLst/>
          </a:prstGeom>
        </p:spPr>
        <p:txBody>
          <a:bodyPr/>
          <a:lstStyle>
            <a:lvl1pPr algn="ctr">
              <a:defRPr sz="2133" b="0" i="0">
                <a:latin typeface="Poppins Light" pitchFamily="2" charset="77"/>
                <a:cs typeface="Poppins Light" pitchFamily="2" charset="77"/>
              </a:defRPr>
            </a:lvl1pPr>
            <a:lvl2pPr algn="ctr">
              <a:defRPr sz="2133" b="0" i="0">
                <a:latin typeface="Poppins Light" pitchFamily="2" charset="77"/>
                <a:cs typeface="Poppins Light" pitchFamily="2" charset="77"/>
              </a:defRPr>
            </a:lvl2pPr>
            <a:lvl3pPr algn="ctr">
              <a:defRPr sz="2133" b="0" i="0">
                <a:latin typeface="Poppins Light" pitchFamily="2" charset="77"/>
                <a:cs typeface="Poppins Light" pitchFamily="2" charset="77"/>
              </a:defRPr>
            </a:lvl3pPr>
            <a:lvl4pPr algn="ctr">
              <a:defRPr sz="2133" b="0" i="0">
                <a:latin typeface="Poppins Light" pitchFamily="2" charset="77"/>
                <a:cs typeface="Poppins Light" pitchFamily="2" charset="77"/>
              </a:defRPr>
            </a:lvl4pPr>
            <a:lvl5pPr algn="ctr">
              <a:defRPr sz="21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7" name="Group 2">
            <a:extLst>
              <a:ext uri="{FF2B5EF4-FFF2-40B4-BE49-F238E27FC236}">
                <a16:creationId xmlns:a16="http://schemas.microsoft.com/office/drawing/2014/main" id="{84DF5FD3-368A-EF89-8149-3F8DC30E8ED5}"/>
              </a:ext>
            </a:extLst>
          </p:cNvPr>
          <p:cNvGrpSpPr>
            <a:grpSpLocks noChangeAspect="1"/>
          </p:cNvGrpSpPr>
          <p:nvPr/>
        </p:nvGrpSpPr>
        <p:grpSpPr>
          <a:xfrm>
            <a:off x="36827" y="3936476"/>
            <a:ext cx="1512035" cy="1309354"/>
            <a:chOff x="0" y="0"/>
            <a:chExt cx="4282440" cy="370840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207A5AE6-C703-B397-653C-DE3EF72325A6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9" name="Group 4">
            <a:extLst>
              <a:ext uri="{FF2B5EF4-FFF2-40B4-BE49-F238E27FC236}">
                <a16:creationId xmlns:a16="http://schemas.microsoft.com/office/drawing/2014/main" id="{A853F251-BFD7-6E3B-4AC4-69C2BAE5066C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3234476"/>
            <a:ext cx="1512035" cy="1309354"/>
            <a:chOff x="0" y="0"/>
            <a:chExt cx="4282440" cy="3708400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B8B3F4F-C0F7-35DA-FF67-8BA5C47ABA23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1" name="Group 6">
            <a:extLst>
              <a:ext uri="{FF2B5EF4-FFF2-40B4-BE49-F238E27FC236}">
                <a16:creationId xmlns:a16="http://schemas.microsoft.com/office/drawing/2014/main" id="{86531AB7-3B7A-B165-5F15-DB9550187643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4688703"/>
            <a:ext cx="1512035" cy="1309354"/>
            <a:chOff x="0" y="0"/>
            <a:chExt cx="4282440" cy="3708400"/>
          </a:xfrm>
        </p:grpSpPr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7F4A836-03D3-0478-993C-89ABCD789556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3" name="Group 8">
            <a:extLst>
              <a:ext uri="{FF2B5EF4-FFF2-40B4-BE49-F238E27FC236}">
                <a16:creationId xmlns:a16="http://schemas.microsoft.com/office/drawing/2014/main" id="{56C60DFD-8387-7A95-BB2D-514C050483D0}"/>
              </a:ext>
            </a:extLst>
          </p:cNvPr>
          <p:cNvGrpSpPr>
            <a:grpSpLocks noChangeAspect="1"/>
          </p:cNvGrpSpPr>
          <p:nvPr/>
        </p:nvGrpSpPr>
        <p:grpSpPr>
          <a:xfrm>
            <a:off x="1" y="5369502"/>
            <a:ext cx="1512035" cy="1309354"/>
            <a:chOff x="0" y="0"/>
            <a:chExt cx="4282440" cy="3708400"/>
          </a:xfrm>
        </p:grpSpPr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C5983990-1CB7-7E54-7DA1-6FDE8AB0D929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5" name="Group 10">
            <a:extLst>
              <a:ext uri="{FF2B5EF4-FFF2-40B4-BE49-F238E27FC236}">
                <a16:creationId xmlns:a16="http://schemas.microsoft.com/office/drawing/2014/main" id="{8BE35399-D3C5-0957-DBA2-9D71AE382BE6}"/>
              </a:ext>
            </a:extLst>
          </p:cNvPr>
          <p:cNvGrpSpPr>
            <a:grpSpLocks noChangeAspect="1"/>
          </p:cNvGrpSpPr>
          <p:nvPr/>
        </p:nvGrpSpPr>
        <p:grpSpPr>
          <a:xfrm>
            <a:off x="73654" y="1073445"/>
            <a:ext cx="1512035" cy="1309354"/>
            <a:chOff x="0" y="0"/>
            <a:chExt cx="4282440" cy="3708400"/>
          </a:xfrm>
        </p:grpSpPr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4DFA1151-F81E-CAB0-3902-18EBA90CB0E1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7" name="Group 12">
            <a:extLst>
              <a:ext uri="{FF2B5EF4-FFF2-40B4-BE49-F238E27FC236}">
                <a16:creationId xmlns:a16="http://schemas.microsoft.com/office/drawing/2014/main" id="{8B5B18D7-A00B-0944-F9C9-165806E8EB29}"/>
              </a:ext>
            </a:extLst>
          </p:cNvPr>
          <p:cNvGrpSpPr>
            <a:grpSpLocks noChangeAspect="1"/>
          </p:cNvGrpSpPr>
          <p:nvPr/>
        </p:nvGrpSpPr>
        <p:grpSpPr>
          <a:xfrm>
            <a:off x="1332571" y="371445"/>
            <a:ext cx="1512035" cy="1309354"/>
            <a:chOff x="0" y="0"/>
            <a:chExt cx="4282440" cy="3708400"/>
          </a:xfrm>
        </p:grpSpPr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EF864D30-926B-0E3B-2003-863ED869D3A9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9" name="Group 14">
            <a:extLst>
              <a:ext uri="{FF2B5EF4-FFF2-40B4-BE49-F238E27FC236}">
                <a16:creationId xmlns:a16="http://schemas.microsoft.com/office/drawing/2014/main" id="{BD6A3244-85C0-F294-C04B-C36353346B57}"/>
              </a:ext>
            </a:extLst>
          </p:cNvPr>
          <p:cNvGrpSpPr>
            <a:grpSpLocks noChangeAspect="1"/>
          </p:cNvGrpSpPr>
          <p:nvPr/>
        </p:nvGrpSpPr>
        <p:grpSpPr>
          <a:xfrm>
            <a:off x="1332571" y="1825673"/>
            <a:ext cx="1512035" cy="1309354"/>
            <a:chOff x="0" y="0"/>
            <a:chExt cx="4282440" cy="3708400"/>
          </a:xfrm>
        </p:grpSpPr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E878B086-DB5D-19E7-CB18-9843868B3EA0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1" name="Group 16">
            <a:extLst>
              <a:ext uri="{FF2B5EF4-FFF2-40B4-BE49-F238E27FC236}">
                <a16:creationId xmlns:a16="http://schemas.microsoft.com/office/drawing/2014/main" id="{E2A16322-2149-E9DA-81B4-808B647A7AEA}"/>
              </a:ext>
            </a:extLst>
          </p:cNvPr>
          <p:cNvGrpSpPr>
            <a:grpSpLocks noChangeAspect="1"/>
          </p:cNvGrpSpPr>
          <p:nvPr/>
        </p:nvGrpSpPr>
        <p:grpSpPr>
          <a:xfrm>
            <a:off x="36827" y="2506471"/>
            <a:ext cx="1512035" cy="1309354"/>
            <a:chOff x="0" y="0"/>
            <a:chExt cx="4282440" cy="3708400"/>
          </a:xfrm>
        </p:grpSpPr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9BD49836-0F4A-6269-46A6-F0152C83FDF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3" name="Group 18">
            <a:extLst>
              <a:ext uri="{FF2B5EF4-FFF2-40B4-BE49-F238E27FC236}">
                <a16:creationId xmlns:a16="http://schemas.microsoft.com/office/drawing/2014/main" id="{B1E73EFC-1911-CEF6-92E0-D7AE6CBCA65F}"/>
              </a:ext>
            </a:extLst>
          </p:cNvPr>
          <p:cNvGrpSpPr>
            <a:grpSpLocks noChangeAspect="1"/>
          </p:cNvGrpSpPr>
          <p:nvPr/>
        </p:nvGrpSpPr>
        <p:grpSpPr>
          <a:xfrm>
            <a:off x="144973" y="-381959"/>
            <a:ext cx="1512035" cy="1309354"/>
            <a:chOff x="0" y="0"/>
            <a:chExt cx="4282440" cy="3708400"/>
          </a:xfrm>
        </p:grpSpPr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B87AC40F-7DA0-FBCF-F119-B7163596449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5" name="Group 20">
            <a:extLst>
              <a:ext uri="{FF2B5EF4-FFF2-40B4-BE49-F238E27FC236}">
                <a16:creationId xmlns:a16="http://schemas.microsoft.com/office/drawing/2014/main" id="{92A04046-EACC-E004-CD32-CF15D5846798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6144108"/>
            <a:ext cx="1512035" cy="1309354"/>
            <a:chOff x="0" y="0"/>
            <a:chExt cx="4282440" cy="3708400"/>
          </a:xfrm>
        </p:grpSpPr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453A13B7-85A7-BA73-9A6D-2D80ABDB2D5D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BBD52D01-002C-DDB3-BF8F-7E1679FAFE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7999" y="2089200"/>
            <a:ext cx="8572501" cy="1817159"/>
          </a:xfrm>
          <a:prstGeom prst="rect">
            <a:avLst/>
          </a:prstGeom>
        </p:spPr>
        <p:txBody>
          <a:bodyPr/>
          <a:lstStyle>
            <a:lvl1pPr>
              <a:defRPr sz="2133" b="1" i="0">
                <a:latin typeface="Poppins" pitchFamily="2" charset="77"/>
                <a:cs typeface="Poppins" pitchFamily="2" charset="77"/>
              </a:defRPr>
            </a:lvl1pPr>
            <a:lvl2pPr>
              <a:defRPr sz="2133" b="0" i="0">
                <a:latin typeface="Poppins Light" pitchFamily="2" charset="77"/>
                <a:cs typeface="Poppins Light" pitchFamily="2" charset="77"/>
              </a:defRPr>
            </a:lvl2pPr>
            <a:lvl3pPr>
              <a:defRPr sz="2133" b="0" i="0">
                <a:latin typeface="Poppins Light" pitchFamily="2" charset="77"/>
                <a:cs typeface="Poppins Light" pitchFamily="2" charset="77"/>
              </a:defRPr>
            </a:lvl3pPr>
            <a:lvl4pPr>
              <a:defRPr sz="2133" b="0" i="0">
                <a:latin typeface="Poppins Light" pitchFamily="2" charset="77"/>
                <a:cs typeface="Poppins Light" pitchFamily="2" charset="77"/>
              </a:defRPr>
            </a:lvl4pPr>
            <a:lvl5pPr>
              <a:defRPr sz="21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BE23FD0-3B31-7AAB-B75F-EA6CE1761D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0" y="4191000"/>
            <a:ext cx="4152900" cy="2387600"/>
          </a:xfrm>
          <a:prstGeom prst="rect">
            <a:avLst/>
          </a:prstGeom>
        </p:spPr>
        <p:txBody>
          <a:bodyPr/>
          <a:lstStyle>
            <a:lvl1pPr>
              <a:defRPr sz="1333" b="1" i="0">
                <a:latin typeface="Poppins" pitchFamily="2" charset="77"/>
                <a:cs typeface="Poppins" pitchFamily="2" charset="77"/>
              </a:defRPr>
            </a:lvl1pPr>
            <a:lvl2pPr>
              <a:defRPr sz="1333" b="0" i="0">
                <a:latin typeface="Poppins Light" pitchFamily="2" charset="77"/>
                <a:cs typeface="Poppins Light" pitchFamily="2" charset="77"/>
              </a:defRPr>
            </a:lvl2pPr>
            <a:lvl3pPr>
              <a:defRPr sz="1333" b="0" i="0">
                <a:latin typeface="Poppins Light" pitchFamily="2" charset="77"/>
                <a:cs typeface="Poppins Light" pitchFamily="2" charset="77"/>
              </a:defRPr>
            </a:lvl3pPr>
            <a:lvl4pPr>
              <a:defRPr sz="1333" b="0" i="0">
                <a:latin typeface="Poppins Light" pitchFamily="2" charset="77"/>
                <a:cs typeface="Poppins Light" pitchFamily="2" charset="77"/>
              </a:defRPr>
            </a:lvl4pPr>
            <a:lvl5pPr>
              <a:defRPr sz="13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E19EA179-BA4B-82E5-CEFA-53B658CD84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67600" y="4191000"/>
            <a:ext cx="4152900" cy="2387600"/>
          </a:xfrm>
          <a:prstGeom prst="rect">
            <a:avLst/>
          </a:prstGeom>
        </p:spPr>
        <p:txBody>
          <a:bodyPr/>
          <a:lstStyle>
            <a:lvl1pPr>
              <a:defRPr sz="1333" b="1" i="0">
                <a:latin typeface="Poppins" pitchFamily="2" charset="77"/>
                <a:cs typeface="Poppins" pitchFamily="2" charset="77"/>
              </a:defRPr>
            </a:lvl1pPr>
            <a:lvl2pPr>
              <a:defRPr sz="1333" b="1" i="0">
                <a:latin typeface="Poppins" pitchFamily="2" charset="77"/>
                <a:cs typeface="Poppins" pitchFamily="2" charset="77"/>
              </a:defRPr>
            </a:lvl2pPr>
            <a:lvl3pPr>
              <a:defRPr sz="1333" b="1" i="0">
                <a:latin typeface="Poppins" pitchFamily="2" charset="77"/>
                <a:cs typeface="Poppins" pitchFamily="2" charset="77"/>
              </a:defRPr>
            </a:lvl3pPr>
            <a:lvl4pPr>
              <a:defRPr sz="1333" b="1" i="0">
                <a:latin typeface="Poppins" pitchFamily="2" charset="77"/>
                <a:cs typeface="Poppins" pitchFamily="2" charset="77"/>
              </a:defRPr>
            </a:lvl4pPr>
            <a:lvl5pPr>
              <a:defRPr sz="1333" b="1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C5A0AE8-0394-B9A5-3402-15A685DFD2F6}"/>
              </a:ext>
            </a:extLst>
          </p:cNvPr>
          <p:cNvSpPr txBox="1"/>
          <p:nvPr/>
        </p:nvSpPr>
        <p:spPr>
          <a:xfrm>
            <a:off x="9652000" y="6535578"/>
            <a:ext cx="284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C06AC00C-F834-ED7A-46AD-18CADEC07B46}"/>
              </a:ext>
            </a:extLst>
          </p:cNvPr>
          <p:cNvCxnSpPr/>
          <p:nvPr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9961425"/>
      </p:ext>
    </p:extLst>
  </p:cSld>
  <p:clrMapOvr>
    <a:masterClrMapping/>
  </p:clrMapOvr>
  <p:hf sldNum="0"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6">
    <p:bg>
      <p:bgPr>
        <a:solidFill>
          <a:srgbClr val="032B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72628781-542C-9F56-75E5-5734B283FF86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893CBE26-6BFA-8EAA-053B-D984FBA72D37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1">
            <a:extLst>
              <a:ext uri="{FF2B5EF4-FFF2-40B4-BE49-F238E27FC236}">
                <a16:creationId xmlns:a16="http://schemas.microsoft.com/office/drawing/2014/main" id="{D3FD96F2-F163-42BA-97EE-BCAFB991A9DB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2">
            <a:extLst>
              <a:ext uri="{FF2B5EF4-FFF2-40B4-BE49-F238E27FC236}">
                <a16:creationId xmlns:a16="http://schemas.microsoft.com/office/drawing/2014/main" id="{0D5A5CCE-16D0-4145-B792-281F652C08C8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28512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7">
    <p:bg>
      <p:bgPr>
        <a:solidFill>
          <a:srgbClr val="0B81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75E1A3A1-851F-BB41-DAB8-E35A550A7220}"/>
              </a:ext>
            </a:extLst>
          </p:cNvPr>
          <p:cNvSpPr txBox="1"/>
          <p:nvPr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CB195B3F-6D64-5BD4-0B1F-27212A1C1A0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3">
            <a:extLst>
              <a:ext uri="{FF2B5EF4-FFF2-40B4-BE49-F238E27FC236}">
                <a16:creationId xmlns:a16="http://schemas.microsoft.com/office/drawing/2014/main" id="{04BC2742-A355-4148-895C-AA56F17466AC}"/>
              </a:ext>
            </a:extLst>
          </p:cNvPr>
          <p:cNvSpPr txBox="1"/>
          <p:nvPr userDrawn="1"/>
        </p:nvSpPr>
        <p:spPr>
          <a:xfrm>
            <a:off x="101600" y="6535579"/>
            <a:ext cx="401320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8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312CF02E-AE59-4BFF-A703-2DA5C9DFB5DE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8641272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4ACD8893-7198-9DC8-ECD0-58A3C295A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1105037"/>
            <a:ext cx="8571795" cy="1326091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7C8735EB-6336-D816-4CE2-EF9FE3B411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64" y="3205409"/>
            <a:ext cx="7255013" cy="965200"/>
          </a:xfrm>
          <a:prstGeom prst="rect">
            <a:avLst/>
          </a:prstGeom>
        </p:spPr>
        <p:txBody>
          <a:bodyPr/>
          <a:lstStyle>
            <a:lvl1pPr>
              <a:defRPr sz="2933" b="1" i="0" spc="40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4000">
                <a:latin typeface="Poppins" pitchFamily="2" charset="77"/>
                <a:cs typeface="Poppins" pitchFamily="2" charset="77"/>
              </a:defRPr>
            </a:lvl2pPr>
            <a:lvl3pPr>
              <a:defRPr sz="4000">
                <a:latin typeface="Poppins" pitchFamily="2" charset="77"/>
                <a:cs typeface="Poppins" pitchFamily="2" charset="77"/>
              </a:defRPr>
            </a:lvl3pPr>
            <a:lvl4pPr>
              <a:defRPr sz="4000">
                <a:latin typeface="Poppins" pitchFamily="2" charset="77"/>
                <a:cs typeface="Poppins" pitchFamily="2" charset="77"/>
              </a:defRPr>
            </a:lvl4pPr>
            <a:lvl5pPr>
              <a:defRPr sz="400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4FC6879-36DA-D757-04CF-D3B1AD28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477" y="4944889"/>
            <a:ext cx="5994400" cy="1117600"/>
          </a:xfrm>
          <a:prstGeom prst="rect">
            <a:avLst/>
          </a:prstGeom>
        </p:spPr>
        <p:txBody>
          <a:bodyPr/>
          <a:lstStyle>
            <a:lvl1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grpSp>
        <p:nvGrpSpPr>
          <p:cNvPr id="10" name="Group 3">
            <a:extLst>
              <a:ext uri="{FF2B5EF4-FFF2-40B4-BE49-F238E27FC236}">
                <a16:creationId xmlns:a16="http://schemas.microsoft.com/office/drawing/2014/main" id="{18F90C5E-926A-4DD0-C00C-83311F81680B}"/>
              </a:ext>
            </a:extLst>
          </p:cNvPr>
          <p:cNvGrpSpPr>
            <a:grpSpLocks noChangeAspect="1"/>
          </p:cNvGrpSpPr>
          <p:nvPr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547DD863-9C53-65BB-0157-2E278C1A45B2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2" name="Group 5">
            <a:extLst>
              <a:ext uri="{FF2B5EF4-FFF2-40B4-BE49-F238E27FC236}">
                <a16:creationId xmlns:a16="http://schemas.microsoft.com/office/drawing/2014/main" id="{0C846B09-705C-25BD-E50A-3C5B986D8715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CDD4F5F-364D-8D04-0AC6-98F393532A89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4" name="Group 7">
            <a:extLst>
              <a:ext uri="{FF2B5EF4-FFF2-40B4-BE49-F238E27FC236}">
                <a16:creationId xmlns:a16="http://schemas.microsoft.com/office/drawing/2014/main" id="{51C88F50-F6D7-3566-F6E7-D03848818253}"/>
              </a:ext>
            </a:extLst>
          </p:cNvPr>
          <p:cNvGrpSpPr>
            <a:grpSpLocks noChangeAspect="1"/>
          </p:cNvGrpSpPr>
          <p:nvPr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928190E-2BFE-B21E-3019-1651EF69AB4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91D1A565-5ABE-DADC-7C9B-620587F5B8E0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BCB19521-1D71-9BD2-5701-E6ED3667A42A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8" name="Group 11">
            <a:extLst>
              <a:ext uri="{FF2B5EF4-FFF2-40B4-BE49-F238E27FC236}">
                <a16:creationId xmlns:a16="http://schemas.microsoft.com/office/drawing/2014/main" id="{9DC1A1A6-7515-AA61-DDAB-F95B07DE895A}"/>
              </a:ext>
            </a:extLst>
          </p:cNvPr>
          <p:cNvGrpSpPr>
            <a:grpSpLocks noChangeAspect="1"/>
          </p:cNvGrpSpPr>
          <p:nvPr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E538D081-22A0-FE41-968B-18510B2B40BF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0" name="Group 3">
            <a:extLst>
              <a:ext uri="{FF2B5EF4-FFF2-40B4-BE49-F238E27FC236}">
                <a16:creationId xmlns:a16="http://schemas.microsoft.com/office/drawing/2014/main" id="{94C248B8-711E-4F29-9A8B-91B97FDD8A38}"/>
              </a:ext>
            </a:extLst>
          </p:cNvPr>
          <p:cNvGrpSpPr>
            <a:grpSpLocks noChangeAspect="1"/>
          </p:cNvGrpSpPr>
          <p:nvPr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21" name="Freeform 4">
              <a:extLst>
                <a:ext uri="{FF2B5EF4-FFF2-40B4-BE49-F238E27FC236}">
                  <a16:creationId xmlns:a16="http://schemas.microsoft.com/office/drawing/2014/main" id="{1475B4BF-E2F7-4FC8-9F28-82A77F1662E5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2" name="Group 5">
            <a:extLst>
              <a:ext uri="{FF2B5EF4-FFF2-40B4-BE49-F238E27FC236}">
                <a16:creationId xmlns:a16="http://schemas.microsoft.com/office/drawing/2014/main" id="{7CEEE077-9DDB-45C8-AB94-04FF2EAE1100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A6F34F3-F16C-4D9E-8361-06E45EDD98B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4" name="Group 7">
            <a:extLst>
              <a:ext uri="{FF2B5EF4-FFF2-40B4-BE49-F238E27FC236}">
                <a16:creationId xmlns:a16="http://schemas.microsoft.com/office/drawing/2014/main" id="{58AC57B2-A670-4601-8846-1A6E2F77905E}"/>
              </a:ext>
            </a:extLst>
          </p:cNvPr>
          <p:cNvGrpSpPr>
            <a:grpSpLocks noChangeAspect="1"/>
          </p:cNvGrpSpPr>
          <p:nvPr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10BE1777-38DB-490D-A90D-80EE574B5766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6" name="Group 9">
            <a:extLst>
              <a:ext uri="{FF2B5EF4-FFF2-40B4-BE49-F238E27FC236}">
                <a16:creationId xmlns:a16="http://schemas.microsoft.com/office/drawing/2014/main" id="{6B38BE04-9723-477F-AA5F-EDDEAB847D07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A30BA3-DA3F-4063-9A8B-3AAC62C58E68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8" name="Group 11">
            <a:extLst>
              <a:ext uri="{FF2B5EF4-FFF2-40B4-BE49-F238E27FC236}">
                <a16:creationId xmlns:a16="http://schemas.microsoft.com/office/drawing/2014/main" id="{BF9FAA3E-9C54-432C-BC41-94E75DB4F9F7}"/>
              </a:ext>
            </a:extLst>
          </p:cNvPr>
          <p:cNvGrpSpPr>
            <a:grpSpLocks noChangeAspect="1"/>
          </p:cNvGrpSpPr>
          <p:nvPr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36FE175F-5D84-4F71-9C7B-B79F2CA31AC3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</p:spTree>
    <p:extLst>
      <p:ext uri="{BB962C8B-B14F-4D97-AF65-F5344CB8AC3E}">
        <p14:creationId xmlns:p14="http://schemas.microsoft.com/office/powerpoint/2010/main" val="311539830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4ACD8893-7198-9DC8-ECD0-58A3C295A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865" y="602339"/>
            <a:ext cx="8571795" cy="1326091"/>
          </a:xfrm>
          <a:prstGeom prst="rect">
            <a:avLst/>
          </a:prstGeom>
        </p:spPr>
        <p:txBody>
          <a:bodyPr/>
          <a:lstStyle>
            <a:lvl1pPr>
              <a:defRPr sz="4400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</a:t>
            </a:r>
            <a:r>
              <a:rPr lang="fr-FR" dirty="0" err="1"/>
              <a:t>presentation</a:t>
            </a:r>
            <a:endParaRPr lang="fr-FR" dirty="0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7C8735EB-6336-D816-4CE2-EF9FE3B411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864" y="3205409"/>
            <a:ext cx="7255013" cy="965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 b="0" i="0" spc="40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4000">
                <a:latin typeface="Poppins" pitchFamily="2" charset="77"/>
                <a:cs typeface="Poppins" pitchFamily="2" charset="77"/>
              </a:defRPr>
            </a:lvl2pPr>
            <a:lvl3pPr>
              <a:defRPr sz="4000">
                <a:latin typeface="Poppins" pitchFamily="2" charset="77"/>
                <a:cs typeface="Poppins" pitchFamily="2" charset="77"/>
              </a:defRPr>
            </a:lvl3pPr>
            <a:lvl4pPr>
              <a:defRPr sz="4000">
                <a:latin typeface="Poppins" pitchFamily="2" charset="77"/>
                <a:cs typeface="Poppins" pitchFamily="2" charset="77"/>
              </a:defRPr>
            </a:lvl4pPr>
            <a:lvl5pPr>
              <a:defRPr sz="400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fr-FR" dirty="0"/>
              <a:t>Name</a:t>
            </a:r>
          </a:p>
          <a:p>
            <a:pPr lvl="0"/>
            <a:r>
              <a:rPr lang="fr-FR" b="0" dirty="0"/>
              <a:t>Position</a:t>
            </a:r>
            <a:endParaRPr lang="fr-FR" dirty="0"/>
          </a:p>
        </p:txBody>
      </p:sp>
      <p:grpSp>
        <p:nvGrpSpPr>
          <p:cNvPr id="10" name="Group 3">
            <a:extLst>
              <a:ext uri="{FF2B5EF4-FFF2-40B4-BE49-F238E27FC236}">
                <a16:creationId xmlns:a16="http://schemas.microsoft.com/office/drawing/2014/main" id="{18F90C5E-926A-4DD0-C00C-83311F81680B}"/>
              </a:ext>
            </a:extLst>
          </p:cNvPr>
          <p:cNvGrpSpPr>
            <a:grpSpLocks noChangeAspect="1"/>
          </p:cNvGrpSpPr>
          <p:nvPr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547DD863-9C53-65BB-0157-2E278C1A45B2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2" name="Group 5">
            <a:extLst>
              <a:ext uri="{FF2B5EF4-FFF2-40B4-BE49-F238E27FC236}">
                <a16:creationId xmlns:a16="http://schemas.microsoft.com/office/drawing/2014/main" id="{0C846B09-705C-25BD-E50A-3C5B986D8715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CDD4F5F-364D-8D04-0AC6-98F393532A89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4" name="Group 7">
            <a:extLst>
              <a:ext uri="{FF2B5EF4-FFF2-40B4-BE49-F238E27FC236}">
                <a16:creationId xmlns:a16="http://schemas.microsoft.com/office/drawing/2014/main" id="{51C88F50-F6D7-3566-F6E7-D03848818253}"/>
              </a:ext>
            </a:extLst>
          </p:cNvPr>
          <p:cNvGrpSpPr>
            <a:grpSpLocks noChangeAspect="1"/>
          </p:cNvGrpSpPr>
          <p:nvPr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928190E-2BFE-B21E-3019-1651EF69AB4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91D1A565-5ABE-DADC-7C9B-620587F5B8E0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BCB19521-1D71-9BD2-5701-E6ED3667A42A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8" name="Group 11">
            <a:extLst>
              <a:ext uri="{FF2B5EF4-FFF2-40B4-BE49-F238E27FC236}">
                <a16:creationId xmlns:a16="http://schemas.microsoft.com/office/drawing/2014/main" id="{9DC1A1A6-7515-AA61-DDAB-F95B07DE895A}"/>
              </a:ext>
            </a:extLst>
          </p:cNvPr>
          <p:cNvGrpSpPr>
            <a:grpSpLocks noChangeAspect="1"/>
          </p:cNvGrpSpPr>
          <p:nvPr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E538D081-22A0-FE41-968B-18510B2B40BF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20" name="ZoneTexte 19">
            <a:extLst>
              <a:ext uri="{FF2B5EF4-FFF2-40B4-BE49-F238E27FC236}">
                <a16:creationId xmlns:a16="http://schemas.microsoft.com/office/drawing/2014/main" id="{4D9FAD82-4700-EEBB-DF0C-B0FFF8521994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EA7B4556-380B-0066-B69B-4A5245ECFD45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3">
            <a:extLst>
              <a:ext uri="{FF2B5EF4-FFF2-40B4-BE49-F238E27FC236}">
                <a16:creationId xmlns:a16="http://schemas.microsoft.com/office/drawing/2014/main" id="{631480AB-633D-4992-977B-677495F244EE}"/>
              </a:ext>
            </a:extLst>
          </p:cNvPr>
          <p:cNvGrpSpPr>
            <a:grpSpLocks noChangeAspect="1"/>
          </p:cNvGrpSpPr>
          <p:nvPr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67904455-72C0-496D-89AC-69D6E6B95742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4" name="Group 5">
            <a:extLst>
              <a:ext uri="{FF2B5EF4-FFF2-40B4-BE49-F238E27FC236}">
                <a16:creationId xmlns:a16="http://schemas.microsoft.com/office/drawing/2014/main" id="{CCE2CA93-5252-4ED1-951B-86DF55CE45C1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F085AE8-C321-48EE-9B63-D6FFBD366AAB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6" name="Group 7">
            <a:extLst>
              <a:ext uri="{FF2B5EF4-FFF2-40B4-BE49-F238E27FC236}">
                <a16:creationId xmlns:a16="http://schemas.microsoft.com/office/drawing/2014/main" id="{EB97EC1A-9200-4D86-924F-31B86FE93FFA}"/>
              </a:ext>
            </a:extLst>
          </p:cNvPr>
          <p:cNvGrpSpPr>
            <a:grpSpLocks noChangeAspect="1"/>
          </p:cNvGrpSpPr>
          <p:nvPr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B813B0D9-0BC4-4B97-B5EC-653118AACC2E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8" name="Group 9">
            <a:extLst>
              <a:ext uri="{FF2B5EF4-FFF2-40B4-BE49-F238E27FC236}">
                <a16:creationId xmlns:a16="http://schemas.microsoft.com/office/drawing/2014/main" id="{00E209D9-3E28-4177-88DC-16BA5FD355B3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2E4842A0-8A83-49EC-8CA0-A0946FD8FACC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0" name="Group 11">
            <a:extLst>
              <a:ext uri="{FF2B5EF4-FFF2-40B4-BE49-F238E27FC236}">
                <a16:creationId xmlns:a16="http://schemas.microsoft.com/office/drawing/2014/main" id="{FE935023-6A54-40A8-9857-667B633B6F4A}"/>
              </a:ext>
            </a:extLst>
          </p:cNvPr>
          <p:cNvGrpSpPr>
            <a:grpSpLocks noChangeAspect="1"/>
          </p:cNvGrpSpPr>
          <p:nvPr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CC45D424-BDF3-4EFF-BFAB-E13DFEBD873E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32" name="ZoneTexte 19">
            <a:extLst>
              <a:ext uri="{FF2B5EF4-FFF2-40B4-BE49-F238E27FC236}">
                <a16:creationId xmlns:a16="http://schemas.microsoft.com/office/drawing/2014/main" id="{4C9E7887-F4CE-4A5E-AF2A-4BF21D6660A1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3" name="Connecteur droit 20">
            <a:extLst>
              <a:ext uri="{FF2B5EF4-FFF2-40B4-BE49-F238E27FC236}">
                <a16:creationId xmlns:a16="http://schemas.microsoft.com/office/drawing/2014/main" id="{78D820CE-393A-4203-963A-1934211CB23D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58007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787EFD-E633-729D-1E35-6149E1667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AFD430C-9AAD-447B-22C6-F29FCA3A12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F8EBCD7-713D-B97F-5B2C-306011DBFE3E}"/>
              </a:ext>
            </a:extLst>
          </p:cNvPr>
          <p:cNvGrpSpPr/>
          <p:nvPr/>
        </p:nvGrpSpPr>
        <p:grpSpPr>
          <a:xfrm>
            <a:off x="10972801" y="4717197"/>
            <a:ext cx="1625599" cy="2185128"/>
            <a:chOff x="9824704" y="-2020392"/>
            <a:chExt cx="9270979" cy="12307392"/>
          </a:xfrm>
        </p:grpSpPr>
        <p:grpSp>
          <p:nvGrpSpPr>
            <p:cNvPr id="30" name="Group 3">
              <a:extLst>
                <a:ext uri="{FF2B5EF4-FFF2-40B4-BE49-F238E27FC236}">
                  <a16:creationId xmlns:a16="http://schemas.microsoft.com/office/drawing/2014/main" id="{25F460FF-3750-6AC9-FC05-BD2523B1BFA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31" name="Freeform 4">
                <a:extLst>
                  <a:ext uri="{FF2B5EF4-FFF2-40B4-BE49-F238E27FC236}">
                    <a16:creationId xmlns:a16="http://schemas.microsoft.com/office/drawing/2014/main" id="{B6030F0A-B6E1-FF59-D8E0-12F98827827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2" name="Group 5">
              <a:extLst>
                <a:ext uri="{FF2B5EF4-FFF2-40B4-BE49-F238E27FC236}">
                  <a16:creationId xmlns:a16="http://schemas.microsoft.com/office/drawing/2014/main" id="{78911277-E3B1-38B2-2414-2D89011E23E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EFCF59DB-6C9A-31EA-22E7-6F45A4C6E35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4" name="Group 7">
              <a:extLst>
                <a:ext uri="{FF2B5EF4-FFF2-40B4-BE49-F238E27FC236}">
                  <a16:creationId xmlns:a16="http://schemas.microsoft.com/office/drawing/2014/main" id="{0235F194-A942-E43B-506F-9AD7A3D2EE6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7FC91801-A2F7-BAC7-E9B7-EAA49FB5E5D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6" name="Group 9">
              <a:extLst>
                <a:ext uri="{FF2B5EF4-FFF2-40B4-BE49-F238E27FC236}">
                  <a16:creationId xmlns:a16="http://schemas.microsoft.com/office/drawing/2014/main" id="{53CFFC6C-62EB-D13A-B9CA-C9B50BAFF37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17C9B8C9-1FAA-D3EA-839E-FC3908DDF89A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8" name="Group 11">
              <a:extLst>
                <a:ext uri="{FF2B5EF4-FFF2-40B4-BE49-F238E27FC236}">
                  <a16:creationId xmlns:a16="http://schemas.microsoft.com/office/drawing/2014/main" id="{DC9A6B05-D900-8154-8E66-72CC7B9FC5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7C877FE-C100-B97D-3FCE-0083D10B6C6C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17" name="ZoneTexte 16">
            <a:extLst>
              <a:ext uri="{FF2B5EF4-FFF2-40B4-BE49-F238E27FC236}">
                <a16:creationId xmlns:a16="http://schemas.microsoft.com/office/drawing/2014/main" id="{8BB9FFE7-8D5E-8E6C-91D5-32524E698908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02E42F46-90F5-77E7-6496-B6BF20F94429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e 4">
            <a:extLst>
              <a:ext uri="{FF2B5EF4-FFF2-40B4-BE49-F238E27FC236}">
                <a16:creationId xmlns:a16="http://schemas.microsoft.com/office/drawing/2014/main" id="{0651BF2E-C837-4D28-80A8-56F66580F637}"/>
              </a:ext>
            </a:extLst>
          </p:cNvPr>
          <p:cNvGrpSpPr/>
          <p:nvPr/>
        </p:nvGrpSpPr>
        <p:grpSpPr>
          <a:xfrm>
            <a:off x="10972801" y="4717197"/>
            <a:ext cx="1625599" cy="2185128"/>
            <a:chOff x="9824704" y="-2020392"/>
            <a:chExt cx="9270979" cy="12307392"/>
          </a:xfrm>
        </p:grpSpPr>
        <p:grpSp>
          <p:nvGrpSpPr>
            <p:cNvPr id="20" name="Group 3">
              <a:extLst>
                <a:ext uri="{FF2B5EF4-FFF2-40B4-BE49-F238E27FC236}">
                  <a16:creationId xmlns:a16="http://schemas.microsoft.com/office/drawing/2014/main" id="{2CC24288-768F-4272-8149-08AE876EEA8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29" name="Freeform 4">
                <a:extLst>
                  <a:ext uri="{FF2B5EF4-FFF2-40B4-BE49-F238E27FC236}">
                    <a16:creationId xmlns:a16="http://schemas.microsoft.com/office/drawing/2014/main" id="{5232DE0F-5076-4204-896B-66847F63E15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1" name="Group 5">
              <a:extLst>
                <a:ext uri="{FF2B5EF4-FFF2-40B4-BE49-F238E27FC236}">
                  <a16:creationId xmlns:a16="http://schemas.microsoft.com/office/drawing/2014/main" id="{1B017339-6859-4971-A0FA-B6F94D739D5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28" name="Freeform 6">
                <a:extLst>
                  <a:ext uri="{FF2B5EF4-FFF2-40B4-BE49-F238E27FC236}">
                    <a16:creationId xmlns:a16="http://schemas.microsoft.com/office/drawing/2014/main" id="{77EEFBAE-7522-42C6-942B-46D059CEF8F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2" name="Group 7">
              <a:extLst>
                <a:ext uri="{FF2B5EF4-FFF2-40B4-BE49-F238E27FC236}">
                  <a16:creationId xmlns:a16="http://schemas.microsoft.com/office/drawing/2014/main" id="{9FF4110B-DB6C-444D-AEAB-BF3290EDBF9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27" name="Freeform 8">
                <a:extLst>
                  <a:ext uri="{FF2B5EF4-FFF2-40B4-BE49-F238E27FC236}">
                    <a16:creationId xmlns:a16="http://schemas.microsoft.com/office/drawing/2014/main" id="{C9737E64-A356-48B6-8C02-CFE7E8D69CF6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3" name="Group 9">
              <a:extLst>
                <a:ext uri="{FF2B5EF4-FFF2-40B4-BE49-F238E27FC236}">
                  <a16:creationId xmlns:a16="http://schemas.microsoft.com/office/drawing/2014/main" id="{532EC4A6-55C1-49DC-BD4D-8DF521775AC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4F754CB6-5467-4544-9005-37D7B01C8B5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4" name="Group 11">
              <a:extLst>
                <a:ext uri="{FF2B5EF4-FFF2-40B4-BE49-F238E27FC236}">
                  <a16:creationId xmlns:a16="http://schemas.microsoft.com/office/drawing/2014/main" id="{F845D0E5-4CB7-4A85-98E2-BFC5946E32C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7A234E7C-3491-416B-9564-48CB6B1E0438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40" name="ZoneTexte 16">
            <a:extLst>
              <a:ext uri="{FF2B5EF4-FFF2-40B4-BE49-F238E27FC236}">
                <a16:creationId xmlns:a16="http://schemas.microsoft.com/office/drawing/2014/main" id="{A5B3C1EF-25F9-4B0E-86F3-DEE8B5305180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41" name="Connecteur droit 17">
            <a:extLst>
              <a:ext uri="{FF2B5EF4-FFF2-40B4-BE49-F238E27FC236}">
                <a16:creationId xmlns:a16="http://schemas.microsoft.com/office/drawing/2014/main" id="{F909C407-53FF-4DFC-99EB-3A8CBC353A9B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5818429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>
            <a:extLst>
              <a:ext uri="{FF2B5EF4-FFF2-40B4-BE49-F238E27FC236}">
                <a16:creationId xmlns:a16="http://schemas.microsoft.com/office/drawing/2014/main" id="{1CAF00C5-F7DA-4755-E96D-64A96C08B39E}"/>
              </a:ext>
            </a:extLst>
          </p:cNvPr>
          <p:cNvGrpSpPr/>
          <p:nvPr/>
        </p:nvGrpSpPr>
        <p:grpSpPr>
          <a:xfrm rot="3608892">
            <a:off x="4170740" y="6087713"/>
            <a:ext cx="717435" cy="968494"/>
            <a:chOff x="9824704" y="-2020392"/>
            <a:chExt cx="9270979" cy="12307392"/>
          </a:xfrm>
        </p:grpSpPr>
        <p:grpSp>
          <p:nvGrpSpPr>
            <p:cNvPr id="18" name="Group 3">
              <a:extLst>
                <a:ext uri="{FF2B5EF4-FFF2-40B4-BE49-F238E27FC236}">
                  <a16:creationId xmlns:a16="http://schemas.microsoft.com/office/drawing/2014/main" id="{D44535E7-C4DC-78DB-A7A8-6270D639D59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27" name="Freeform 4">
                <a:extLst>
                  <a:ext uri="{FF2B5EF4-FFF2-40B4-BE49-F238E27FC236}">
                    <a16:creationId xmlns:a16="http://schemas.microsoft.com/office/drawing/2014/main" id="{A37C8411-6E3C-DB79-4F3B-86873DF6054D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9" name="Group 5">
              <a:extLst>
                <a:ext uri="{FF2B5EF4-FFF2-40B4-BE49-F238E27FC236}">
                  <a16:creationId xmlns:a16="http://schemas.microsoft.com/office/drawing/2014/main" id="{B0CB359F-A173-B531-357E-06D398B7AB1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D3A751FA-5239-5689-E97A-22A3E01E423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0" name="Group 7">
              <a:extLst>
                <a:ext uri="{FF2B5EF4-FFF2-40B4-BE49-F238E27FC236}">
                  <a16:creationId xmlns:a16="http://schemas.microsoft.com/office/drawing/2014/main" id="{B4AD2B37-84FA-623C-764F-410A0D79FD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1664A612-F7DB-74A1-5454-42692D5B2B28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1" name="Group 9">
              <a:extLst>
                <a:ext uri="{FF2B5EF4-FFF2-40B4-BE49-F238E27FC236}">
                  <a16:creationId xmlns:a16="http://schemas.microsoft.com/office/drawing/2014/main" id="{F9A50F3A-CC65-9428-CA94-85FC043A5A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24" name="Freeform 10">
                <a:extLst>
                  <a:ext uri="{FF2B5EF4-FFF2-40B4-BE49-F238E27FC236}">
                    <a16:creationId xmlns:a16="http://schemas.microsoft.com/office/drawing/2014/main" id="{B8460C0A-E74C-758D-A48E-B995FA25B9A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2" name="Group 11">
              <a:extLst>
                <a:ext uri="{FF2B5EF4-FFF2-40B4-BE49-F238E27FC236}">
                  <a16:creationId xmlns:a16="http://schemas.microsoft.com/office/drawing/2014/main" id="{D6838A77-76A0-D0FF-5F1A-4E295F1F4E6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1A8BC44C-8E16-7A0F-96B8-1BDFC0A0A7B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6256D9B0-C816-675E-C239-53EFB72DE25A}"/>
              </a:ext>
            </a:extLst>
          </p:cNvPr>
          <p:cNvCxnSpPr>
            <a:cxnSpLocks/>
          </p:cNvCxnSpPr>
          <p:nvPr/>
        </p:nvCxnSpPr>
        <p:spPr>
          <a:xfrm>
            <a:off x="-50800" y="6492874"/>
            <a:ext cx="508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re 1">
            <a:extLst>
              <a:ext uri="{FF2B5EF4-FFF2-40B4-BE49-F238E27FC236}">
                <a16:creationId xmlns:a16="http://schemas.microsoft.com/office/drawing/2014/main" id="{E25F335D-C4FF-B8A9-66BE-917BC7B40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4EAFE968-A7A1-B80F-4139-D9795C9CC1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32" name="Groupe 16">
            <a:extLst>
              <a:ext uri="{FF2B5EF4-FFF2-40B4-BE49-F238E27FC236}">
                <a16:creationId xmlns:a16="http://schemas.microsoft.com/office/drawing/2014/main" id="{DDBC99AD-1995-4E74-8F75-4E68C6F6D040}"/>
              </a:ext>
            </a:extLst>
          </p:cNvPr>
          <p:cNvGrpSpPr/>
          <p:nvPr/>
        </p:nvGrpSpPr>
        <p:grpSpPr>
          <a:xfrm rot="3608892">
            <a:off x="4170740" y="6087713"/>
            <a:ext cx="717435" cy="968494"/>
            <a:chOff x="9824704" y="-2020392"/>
            <a:chExt cx="9270979" cy="12307392"/>
          </a:xfrm>
        </p:grpSpPr>
        <p:grpSp>
          <p:nvGrpSpPr>
            <p:cNvPr id="33" name="Group 3">
              <a:extLst>
                <a:ext uri="{FF2B5EF4-FFF2-40B4-BE49-F238E27FC236}">
                  <a16:creationId xmlns:a16="http://schemas.microsoft.com/office/drawing/2014/main" id="{363C9901-FFE8-4F33-871F-3DCD1D0F0DC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42" name="Freeform 4">
                <a:extLst>
                  <a:ext uri="{FF2B5EF4-FFF2-40B4-BE49-F238E27FC236}">
                    <a16:creationId xmlns:a16="http://schemas.microsoft.com/office/drawing/2014/main" id="{2EED5908-04FC-4DF3-86F3-0645B7BB9C5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4" name="Group 5">
              <a:extLst>
                <a:ext uri="{FF2B5EF4-FFF2-40B4-BE49-F238E27FC236}">
                  <a16:creationId xmlns:a16="http://schemas.microsoft.com/office/drawing/2014/main" id="{9088C53D-33FA-4CDF-A1E1-FF1F9B05D8B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41" name="Freeform 6">
                <a:extLst>
                  <a:ext uri="{FF2B5EF4-FFF2-40B4-BE49-F238E27FC236}">
                    <a16:creationId xmlns:a16="http://schemas.microsoft.com/office/drawing/2014/main" id="{C490EA88-CEE7-4F6B-8C2E-69056F473FC7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5" name="Group 7">
              <a:extLst>
                <a:ext uri="{FF2B5EF4-FFF2-40B4-BE49-F238E27FC236}">
                  <a16:creationId xmlns:a16="http://schemas.microsoft.com/office/drawing/2014/main" id="{4F55C277-8891-4896-B2E0-9C6F71D8B06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40" name="Freeform 8">
                <a:extLst>
                  <a:ext uri="{FF2B5EF4-FFF2-40B4-BE49-F238E27FC236}">
                    <a16:creationId xmlns:a16="http://schemas.microsoft.com/office/drawing/2014/main" id="{3EEC9A30-442E-41DC-B52F-DB85259E08F9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6" name="Group 9">
              <a:extLst>
                <a:ext uri="{FF2B5EF4-FFF2-40B4-BE49-F238E27FC236}">
                  <a16:creationId xmlns:a16="http://schemas.microsoft.com/office/drawing/2014/main" id="{1B1BB4CF-10DF-4F1B-B3A8-D80F85C896E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39" name="Freeform 10">
                <a:extLst>
                  <a:ext uri="{FF2B5EF4-FFF2-40B4-BE49-F238E27FC236}">
                    <a16:creationId xmlns:a16="http://schemas.microsoft.com/office/drawing/2014/main" id="{5C9D3D97-0115-4D83-AD65-64C36F4602D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7" name="Group 11">
              <a:extLst>
                <a:ext uri="{FF2B5EF4-FFF2-40B4-BE49-F238E27FC236}">
                  <a16:creationId xmlns:a16="http://schemas.microsoft.com/office/drawing/2014/main" id="{F9963F0B-FBCC-421A-9DCD-BA659BB153F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C27AE71D-5A27-4435-9B56-6986F066622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cxnSp>
        <p:nvCxnSpPr>
          <p:cNvPr id="44" name="Connecteur droit 28">
            <a:extLst>
              <a:ext uri="{FF2B5EF4-FFF2-40B4-BE49-F238E27FC236}">
                <a16:creationId xmlns:a16="http://schemas.microsoft.com/office/drawing/2014/main" id="{7F4E0EC0-65E9-4F4E-BA1F-2DEB0067D951}"/>
              </a:ext>
            </a:extLst>
          </p:cNvPr>
          <p:cNvCxnSpPr>
            <a:cxnSpLocks/>
          </p:cNvCxnSpPr>
          <p:nvPr/>
        </p:nvCxnSpPr>
        <p:spPr>
          <a:xfrm>
            <a:off x="-50800" y="6492874"/>
            <a:ext cx="508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ZoneTexte 9">
            <a:extLst>
              <a:ext uri="{FF2B5EF4-FFF2-40B4-BE49-F238E27FC236}">
                <a16:creationId xmlns:a16="http://schemas.microsoft.com/office/drawing/2014/main" id="{49B267D3-4667-4928-BC52-B2B37EC0DC23}"/>
              </a:ext>
            </a:extLst>
          </p:cNvPr>
          <p:cNvSpPr txBox="1"/>
          <p:nvPr userDrawn="1"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</p:spTree>
    <p:extLst>
      <p:ext uri="{BB962C8B-B14F-4D97-AF65-F5344CB8AC3E}">
        <p14:creationId xmlns:p14="http://schemas.microsoft.com/office/powerpoint/2010/main" val="35805469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5196DB-ADD8-8377-22BF-115D9D266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9" y="365126"/>
            <a:ext cx="8572499" cy="473075"/>
          </a:xfrm>
          <a:prstGeom prst="rect">
            <a:avLst/>
          </a:prstGeom>
        </p:spPr>
        <p:txBody>
          <a:bodyPr/>
          <a:lstStyle>
            <a:lvl1pPr>
              <a:defRPr sz="2400" b="1" i="0"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F57EDF-BD9B-6D87-79CC-648270B254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7999" y="991513"/>
            <a:ext cx="8572500" cy="689286"/>
          </a:xfrm>
          <a:prstGeom prst="rect">
            <a:avLst/>
          </a:prstGeom>
        </p:spPr>
        <p:txBody>
          <a:bodyPr/>
          <a:lstStyle>
            <a:lvl1pPr algn="ctr">
              <a:defRPr sz="2133" b="0" i="0">
                <a:latin typeface="Poppins Light" pitchFamily="2" charset="77"/>
                <a:cs typeface="Poppins Light" pitchFamily="2" charset="77"/>
              </a:defRPr>
            </a:lvl1pPr>
            <a:lvl2pPr algn="ctr">
              <a:defRPr sz="2133" b="0" i="0">
                <a:latin typeface="Poppins Light" pitchFamily="2" charset="77"/>
                <a:cs typeface="Poppins Light" pitchFamily="2" charset="77"/>
              </a:defRPr>
            </a:lvl2pPr>
            <a:lvl3pPr algn="ctr">
              <a:defRPr sz="2133" b="0" i="0">
                <a:latin typeface="Poppins Light" pitchFamily="2" charset="77"/>
                <a:cs typeface="Poppins Light" pitchFamily="2" charset="77"/>
              </a:defRPr>
            </a:lvl3pPr>
            <a:lvl4pPr algn="ctr">
              <a:defRPr sz="2133" b="0" i="0">
                <a:latin typeface="Poppins Light" pitchFamily="2" charset="77"/>
                <a:cs typeface="Poppins Light" pitchFamily="2" charset="77"/>
              </a:defRPr>
            </a:lvl4pPr>
            <a:lvl5pPr algn="ctr">
              <a:defRPr sz="21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7" name="Group 2">
            <a:extLst>
              <a:ext uri="{FF2B5EF4-FFF2-40B4-BE49-F238E27FC236}">
                <a16:creationId xmlns:a16="http://schemas.microsoft.com/office/drawing/2014/main" id="{84DF5FD3-368A-EF89-8149-3F8DC30E8ED5}"/>
              </a:ext>
            </a:extLst>
          </p:cNvPr>
          <p:cNvGrpSpPr>
            <a:grpSpLocks noChangeAspect="1"/>
          </p:cNvGrpSpPr>
          <p:nvPr/>
        </p:nvGrpSpPr>
        <p:grpSpPr>
          <a:xfrm>
            <a:off x="36827" y="3936476"/>
            <a:ext cx="1512035" cy="1309354"/>
            <a:chOff x="0" y="0"/>
            <a:chExt cx="4282440" cy="370840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207A5AE6-C703-B397-653C-DE3EF72325A6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9" name="Group 4">
            <a:extLst>
              <a:ext uri="{FF2B5EF4-FFF2-40B4-BE49-F238E27FC236}">
                <a16:creationId xmlns:a16="http://schemas.microsoft.com/office/drawing/2014/main" id="{A853F251-BFD7-6E3B-4AC4-69C2BAE5066C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3234476"/>
            <a:ext cx="1512035" cy="1309354"/>
            <a:chOff x="0" y="0"/>
            <a:chExt cx="4282440" cy="3708400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B8B3F4F-C0F7-35DA-FF67-8BA5C47ABA23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1" name="Group 6">
            <a:extLst>
              <a:ext uri="{FF2B5EF4-FFF2-40B4-BE49-F238E27FC236}">
                <a16:creationId xmlns:a16="http://schemas.microsoft.com/office/drawing/2014/main" id="{86531AB7-3B7A-B165-5F15-DB9550187643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4688703"/>
            <a:ext cx="1512035" cy="1309354"/>
            <a:chOff x="0" y="0"/>
            <a:chExt cx="4282440" cy="3708400"/>
          </a:xfrm>
        </p:grpSpPr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7F4A836-03D3-0478-993C-89ABCD789556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3" name="Group 8">
            <a:extLst>
              <a:ext uri="{FF2B5EF4-FFF2-40B4-BE49-F238E27FC236}">
                <a16:creationId xmlns:a16="http://schemas.microsoft.com/office/drawing/2014/main" id="{56C60DFD-8387-7A95-BB2D-514C050483D0}"/>
              </a:ext>
            </a:extLst>
          </p:cNvPr>
          <p:cNvGrpSpPr>
            <a:grpSpLocks noChangeAspect="1"/>
          </p:cNvGrpSpPr>
          <p:nvPr/>
        </p:nvGrpSpPr>
        <p:grpSpPr>
          <a:xfrm>
            <a:off x="1" y="5369502"/>
            <a:ext cx="1512035" cy="1309354"/>
            <a:chOff x="0" y="0"/>
            <a:chExt cx="4282440" cy="3708400"/>
          </a:xfrm>
        </p:grpSpPr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C5983990-1CB7-7E54-7DA1-6FDE8AB0D929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5" name="Group 10">
            <a:extLst>
              <a:ext uri="{FF2B5EF4-FFF2-40B4-BE49-F238E27FC236}">
                <a16:creationId xmlns:a16="http://schemas.microsoft.com/office/drawing/2014/main" id="{8BE35399-D3C5-0957-DBA2-9D71AE382BE6}"/>
              </a:ext>
            </a:extLst>
          </p:cNvPr>
          <p:cNvGrpSpPr>
            <a:grpSpLocks noChangeAspect="1"/>
          </p:cNvGrpSpPr>
          <p:nvPr/>
        </p:nvGrpSpPr>
        <p:grpSpPr>
          <a:xfrm>
            <a:off x="73654" y="1073445"/>
            <a:ext cx="1512035" cy="1309354"/>
            <a:chOff x="0" y="0"/>
            <a:chExt cx="4282440" cy="3708400"/>
          </a:xfrm>
        </p:grpSpPr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4DFA1151-F81E-CAB0-3902-18EBA90CB0E1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7" name="Group 12">
            <a:extLst>
              <a:ext uri="{FF2B5EF4-FFF2-40B4-BE49-F238E27FC236}">
                <a16:creationId xmlns:a16="http://schemas.microsoft.com/office/drawing/2014/main" id="{8B5B18D7-A00B-0944-F9C9-165806E8EB29}"/>
              </a:ext>
            </a:extLst>
          </p:cNvPr>
          <p:cNvGrpSpPr>
            <a:grpSpLocks noChangeAspect="1"/>
          </p:cNvGrpSpPr>
          <p:nvPr/>
        </p:nvGrpSpPr>
        <p:grpSpPr>
          <a:xfrm>
            <a:off x="1332571" y="371445"/>
            <a:ext cx="1512035" cy="1309354"/>
            <a:chOff x="0" y="0"/>
            <a:chExt cx="4282440" cy="3708400"/>
          </a:xfrm>
        </p:grpSpPr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EF864D30-926B-0E3B-2003-863ED869D3A9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9" name="Group 14">
            <a:extLst>
              <a:ext uri="{FF2B5EF4-FFF2-40B4-BE49-F238E27FC236}">
                <a16:creationId xmlns:a16="http://schemas.microsoft.com/office/drawing/2014/main" id="{BD6A3244-85C0-F294-C04B-C36353346B57}"/>
              </a:ext>
            </a:extLst>
          </p:cNvPr>
          <p:cNvGrpSpPr>
            <a:grpSpLocks noChangeAspect="1"/>
          </p:cNvGrpSpPr>
          <p:nvPr/>
        </p:nvGrpSpPr>
        <p:grpSpPr>
          <a:xfrm>
            <a:off x="1332571" y="1825673"/>
            <a:ext cx="1512035" cy="1309354"/>
            <a:chOff x="0" y="0"/>
            <a:chExt cx="4282440" cy="3708400"/>
          </a:xfrm>
        </p:grpSpPr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E878B086-DB5D-19E7-CB18-9843868B3EA0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1" name="Group 16">
            <a:extLst>
              <a:ext uri="{FF2B5EF4-FFF2-40B4-BE49-F238E27FC236}">
                <a16:creationId xmlns:a16="http://schemas.microsoft.com/office/drawing/2014/main" id="{E2A16322-2149-E9DA-81B4-808B647A7AEA}"/>
              </a:ext>
            </a:extLst>
          </p:cNvPr>
          <p:cNvGrpSpPr>
            <a:grpSpLocks noChangeAspect="1"/>
          </p:cNvGrpSpPr>
          <p:nvPr/>
        </p:nvGrpSpPr>
        <p:grpSpPr>
          <a:xfrm>
            <a:off x="36827" y="2506471"/>
            <a:ext cx="1512035" cy="1309354"/>
            <a:chOff x="0" y="0"/>
            <a:chExt cx="4282440" cy="3708400"/>
          </a:xfrm>
        </p:grpSpPr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9BD49836-0F4A-6269-46A6-F0152C83FDF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3" name="Group 18">
            <a:extLst>
              <a:ext uri="{FF2B5EF4-FFF2-40B4-BE49-F238E27FC236}">
                <a16:creationId xmlns:a16="http://schemas.microsoft.com/office/drawing/2014/main" id="{B1E73EFC-1911-CEF6-92E0-D7AE6CBCA65F}"/>
              </a:ext>
            </a:extLst>
          </p:cNvPr>
          <p:cNvGrpSpPr>
            <a:grpSpLocks noChangeAspect="1"/>
          </p:cNvGrpSpPr>
          <p:nvPr/>
        </p:nvGrpSpPr>
        <p:grpSpPr>
          <a:xfrm>
            <a:off x="144973" y="-381959"/>
            <a:ext cx="1512035" cy="1309354"/>
            <a:chOff x="0" y="0"/>
            <a:chExt cx="4282440" cy="3708400"/>
          </a:xfrm>
        </p:grpSpPr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B87AC40F-7DA0-FBCF-F119-B7163596449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5" name="Group 20">
            <a:extLst>
              <a:ext uri="{FF2B5EF4-FFF2-40B4-BE49-F238E27FC236}">
                <a16:creationId xmlns:a16="http://schemas.microsoft.com/office/drawing/2014/main" id="{92A04046-EACC-E004-CD32-CF15D5846798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6144108"/>
            <a:ext cx="1512035" cy="1309354"/>
            <a:chOff x="0" y="0"/>
            <a:chExt cx="4282440" cy="3708400"/>
          </a:xfrm>
        </p:grpSpPr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453A13B7-85A7-BA73-9A6D-2D80ABDB2D5D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BBD52D01-002C-DDB3-BF8F-7E1679FAFE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7999" y="2089200"/>
            <a:ext cx="8572501" cy="1817159"/>
          </a:xfrm>
          <a:prstGeom prst="rect">
            <a:avLst/>
          </a:prstGeom>
        </p:spPr>
        <p:txBody>
          <a:bodyPr/>
          <a:lstStyle>
            <a:lvl1pPr>
              <a:defRPr sz="2133" b="1" i="0">
                <a:latin typeface="Poppins" pitchFamily="2" charset="77"/>
                <a:cs typeface="Poppins" pitchFamily="2" charset="77"/>
              </a:defRPr>
            </a:lvl1pPr>
            <a:lvl2pPr>
              <a:defRPr sz="2133" b="0" i="0">
                <a:latin typeface="Poppins Light" pitchFamily="2" charset="77"/>
                <a:cs typeface="Poppins Light" pitchFamily="2" charset="77"/>
              </a:defRPr>
            </a:lvl2pPr>
            <a:lvl3pPr>
              <a:defRPr sz="2133" b="0" i="0">
                <a:latin typeface="Poppins Light" pitchFamily="2" charset="77"/>
                <a:cs typeface="Poppins Light" pitchFamily="2" charset="77"/>
              </a:defRPr>
            </a:lvl3pPr>
            <a:lvl4pPr>
              <a:defRPr sz="2133" b="0" i="0">
                <a:latin typeface="Poppins Light" pitchFamily="2" charset="77"/>
                <a:cs typeface="Poppins Light" pitchFamily="2" charset="77"/>
              </a:defRPr>
            </a:lvl4pPr>
            <a:lvl5pPr>
              <a:defRPr sz="21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BE23FD0-3B31-7AAB-B75F-EA6CE1761D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0" y="4191000"/>
            <a:ext cx="4152900" cy="2387600"/>
          </a:xfrm>
          <a:prstGeom prst="rect">
            <a:avLst/>
          </a:prstGeom>
        </p:spPr>
        <p:txBody>
          <a:bodyPr/>
          <a:lstStyle>
            <a:lvl1pPr>
              <a:defRPr sz="1333" b="1" i="0">
                <a:latin typeface="Poppins" pitchFamily="2" charset="77"/>
                <a:cs typeface="Poppins" pitchFamily="2" charset="77"/>
              </a:defRPr>
            </a:lvl1pPr>
            <a:lvl2pPr>
              <a:defRPr sz="1333" b="0" i="0">
                <a:latin typeface="Poppins Light" pitchFamily="2" charset="77"/>
                <a:cs typeface="Poppins Light" pitchFamily="2" charset="77"/>
              </a:defRPr>
            </a:lvl2pPr>
            <a:lvl3pPr>
              <a:defRPr sz="1333" b="0" i="0">
                <a:latin typeface="Poppins Light" pitchFamily="2" charset="77"/>
                <a:cs typeface="Poppins Light" pitchFamily="2" charset="77"/>
              </a:defRPr>
            </a:lvl3pPr>
            <a:lvl4pPr>
              <a:defRPr sz="1333" b="0" i="0">
                <a:latin typeface="Poppins Light" pitchFamily="2" charset="77"/>
                <a:cs typeface="Poppins Light" pitchFamily="2" charset="77"/>
              </a:defRPr>
            </a:lvl4pPr>
            <a:lvl5pPr>
              <a:defRPr sz="13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E19EA179-BA4B-82E5-CEFA-53B658CD84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67600" y="4191000"/>
            <a:ext cx="4152900" cy="2387600"/>
          </a:xfrm>
          <a:prstGeom prst="rect">
            <a:avLst/>
          </a:prstGeom>
        </p:spPr>
        <p:txBody>
          <a:bodyPr/>
          <a:lstStyle>
            <a:lvl1pPr>
              <a:defRPr sz="1333" b="1" i="0">
                <a:latin typeface="Poppins" pitchFamily="2" charset="77"/>
                <a:cs typeface="Poppins" pitchFamily="2" charset="77"/>
              </a:defRPr>
            </a:lvl1pPr>
            <a:lvl2pPr>
              <a:defRPr sz="1333" b="1" i="0">
                <a:latin typeface="Poppins" pitchFamily="2" charset="77"/>
                <a:cs typeface="Poppins" pitchFamily="2" charset="77"/>
              </a:defRPr>
            </a:lvl2pPr>
            <a:lvl3pPr>
              <a:defRPr sz="1333" b="1" i="0">
                <a:latin typeface="Poppins" pitchFamily="2" charset="77"/>
                <a:cs typeface="Poppins" pitchFamily="2" charset="77"/>
              </a:defRPr>
            </a:lvl3pPr>
            <a:lvl4pPr>
              <a:defRPr sz="1333" b="1" i="0">
                <a:latin typeface="Poppins" pitchFamily="2" charset="77"/>
                <a:cs typeface="Poppins" pitchFamily="2" charset="77"/>
              </a:defRPr>
            </a:lvl4pPr>
            <a:lvl5pPr>
              <a:defRPr sz="1333" b="1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C5A0AE8-0394-B9A5-3402-15A685DFD2F6}"/>
              </a:ext>
            </a:extLst>
          </p:cNvPr>
          <p:cNvSpPr txBox="1"/>
          <p:nvPr/>
        </p:nvSpPr>
        <p:spPr>
          <a:xfrm>
            <a:off x="9652000" y="6535578"/>
            <a:ext cx="284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C06AC00C-F834-ED7A-46AD-18CADEC07B46}"/>
              </a:ext>
            </a:extLst>
          </p:cNvPr>
          <p:cNvCxnSpPr/>
          <p:nvPr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">
            <a:extLst>
              <a:ext uri="{FF2B5EF4-FFF2-40B4-BE49-F238E27FC236}">
                <a16:creationId xmlns:a16="http://schemas.microsoft.com/office/drawing/2014/main" id="{C38D5D0F-578E-4893-9BFF-23EC4C82F99C}"/>
              </a:ext>
            </a:extLst>
          </p:cNvPr>
          <p:cNvGrpSpPr>
            <a:grpSpLocks noChangeAspect="1"/>
          </p:cNvGrpSpPr>
          <p:nvPr/>
        </p:nvGrpSpPr>
        <p:grpSpPr>
          <a:xfrm>
            <a:off x="36827" y="3936476"/>
            <a:ext cx="1512035" cy="1309354"/>
            <a:chOff x="0" y="0"/>
            <a:chExt cx="4282440" cy="3708400"/>
          </a:xfrm>
        </p:grpSpPr>
        <p:sp>
          <p:nvSpPr>
            <p:cNvPr id="34" name="Freeform 3">
              <a:extLst>
                <a:ext uri="{FF2B5EF4-FFF2-40B4-BE49-F238E27FC236}">
                  <a16:creationId xmlns:a16="http://schemas.microsoft.com/office/drawing/2014/main" id="{003C6D16-B2BC-4EFB-A448-58EFA516CC0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5" name="Group 4">
            <a:extLst>
              <a:ext uri="{FF2B5EF4-FFF2-40B4-BE49-F238E27FC236}">
                <a16:creationId xmlns:a16="http://schemas.microsoft.com/office/drawing/2014/main" id="{4EC8B49F-E9AD-4926-B3C7-8A7ACA9C81CD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3234476"/>
            <a:ext cx="1512035" cy="1309354"/>
            <a:chOff x="0" y="0"/>
            <a:chExt cx="4282440" cy="3708400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C0CC29F0-F544-4E8D-BE8E-0D901352A515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7" name="Group 6">
            <a:extLst>
              <a:ext uri="{FF2B5EF4-FFF2-40B4-BE49-F238E27FC236}">
                <a16:creationId xmlns:a16="http://schemas.microsoft.com/office/drawing/2014/main" id="{CF0745F1-C1AA-44E7-A3AB-80737E151188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4688703"/>
            <a:ext cx="1512035" cy="1309354"/>
            <a:chOff x="0" y="0"/>
            <a:chExt cx="4282440" cy="3708400"/>
          </a:xfrm>
        </p:grpSpPr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374117F1-8FE6-4E88-916C-99842436DE6E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9" name="Group 8">
            <a:extLst>
              <a:ext uri="{FF2B5EF4-FFF2-40B4-BE49-F238E27FC236}">
                <a16:creationId xmlns:a16="http://schemas.microsoft.com/office/drawing/2014/main" id="{90F1A009-EDEC-490D-98BF-4F23675AF826}"/>
              </a:ext>
            </a:extLst>
          </p:cNvPr>
          <p:cNvGrpSpPr>
            <a:grpSpLocks noChangeAspect="1"/>
          </p:cNvGrpSpPr>
          <p:nvPr/>
        </p:nvGrpSpPr>
        <p:grpSpPr>
          <a:xfrm>
            <a:off x="1" y="5369502"/>
            <a:ext cx="1512035" cy="1309354"/>
            <a:chOff x="0" y="0"/>
            <a:chExt cx="4282440" cy="3708400"/>
          </a:xfrm>
        </p:grpSpPr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D3FAB1EC-2650-428D-AFEE-BB73E0673379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1" name="Group 10">
            <a:extLst>
              <a:ext uri="{FF2B5EF4-FFF2-40B4-BE49-F238E27FC236}">
                <a16:creationId xmlns:a16="http://schemas.microsoft.com/office/drawing/2014/main" id="{C5B7FA23-02FA-42E1-BCE0-B8D26EBD8F3A}"/>
              </a:ext>
            </a:extLst>
          </p:cNvPr>
          <p:cNvGrpSpPr>
            <a:grpSpLocks noChangeAspect="1"/>
          </p:cNvGrpSpPr>
          <p:nvPr/>
        </p:nvGrpSpPr>
        <p:grpSpPr>
          <a:xfrm>
            <a:off x="73654" y="1073445"/>
            <a:ext cx="1512035" cy="1309354"/>
            <a:chOff x="0" y="0"/>
            <a:chExt cx="4282440" cy="3708400"/>
          </a:xfrm>
        </p:grpSpPr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01A29188-7DF5-478A-A939-FED350ED82AF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3" name="Group 12">
            <a:extLst>
              <a:ext uri="{FF2B5EF4-FFF2-40B4-BE49-F238E27FC236}">
                <a16:creationId xmlns:a16="http://schemas.microsoft.com/office/drawing/2014/main" id="{0CE70912-5A98-4E15-BF77-195177BC3920}"/>
              </a:ext>
            </a:extLst>
          </p:cNvPr>
          <p:cNvGrpSpPr>
            <a:grpSpLocks noChangeAspect="1"/>
          </p:cNvGrpSpPr>
          <p:nvPr/>
        </p:nvGrpSpPr>
        <p:grpSpPr>
          <a:xfrm>
            <a:off x="1332571" y="371445"/>
            <a:ext cx="1512035" cy="1309354"/>
            <a:chOff x="0" y="0"/>
            <a:chExt cx="4282440" cy="3708400"/>
          </a:xfrm>
        </p:grpSpPr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6774145C-D685-418C-AA1C-FCEEDAABC4E0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5" name="Group 14">
            <a:extLst>
              <a:ext uri="{FF2B5EF4-FFF2-40B4-BE49-F238E27FC236}">
                <a16:creationId xmlns:a16="http://schemas.microsoft.com/office/drawing/2014/main" id="{041F00D3-E21C-4F37-BFE1-CB3F7400A3FC}"/>
              </a:ext>
            </a:extLst>
          </p:cNvPr>
          <p:cNvGrpSpPr>
            <a:grpSpLocks noChangeAspect="1"/>
          </p:cNvGrpSpPr>
          <p:nvPr/>
        </p:nvGrpSpPr>
        <p:grpSpPr>
          <a:xfrm>
            <a:off x="1332571" y="1825673"/>
            <a:ext cx="1512035" cy="1309354"/>
            <a:chOff x="0" y="0"/>
            <a:chExt cx="4282440" cy="3708400"/>
          </a:xfrm>
        </p:grpSpPr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83C75743-8D0E-4131-B380-97291D9DD0DE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7" name="Group 16">
            <a:extLst>
              <a:ext uri="{FF2B5EF4-FFF2-40B4-BE49-F238E27FC236}">
                <a16:creationId xmlns:a16="http://schemas.microsoft.com/office/drawing/2014/main" id="{5D8D3337-2056-4A36-916A-AFF3D19B4452}"/>
              </a:ext>
            </a:extLst>
          </p:cNvPr>
          <p:cNvGrpSpPr>
            <a:grpSpLocks noChangeAspect="1"/>
          </p:cNvGrpSpPr>
          <p:nvPr/>
        </p:nvGrpSpPr>
        <p:grpSpPr>
          <a:xfrm>
            <a:off x="36827" y="2506471"/>
            <a:ext cx="1512035" cy="1309354"/>
            <a:chOff x="0" y="0"/>
            <a:chExt cx="4282440" cy="3708400"/>
          </a:xfrm>
        </p:grpSpPr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CF45CD96-CE77-488A-9E3D-961465B5B7FA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2B6B76A-7A57-4AF4-B443-A0EF0D6342EF}"/>
              </a:ext>
            </a:extLst>
          </p:cNvPr>
          <p:cNvGrpSpPr>
            <a:grpSpLocks noChangeAspect="1"/>
          </p:cNvGrpSpPr>
          <p:nvPr/>
        </p:nvGrpSpPr>
        <p:grpSpPr>
          <a:xfrm>
            <a:off x="144973" y="-381959"/>
            <a:ext cx="1512035" cy="1309354"/>
            <a:chOff x="0" y="0"/>
            <a:chExt cx="4282440" cy="3708400"/>
          </a:xfrm>
        </p:grpSpPr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9FCB2B3C-9B4F-4793-9526-73B75AA464F3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51" name="Group 20">
            <a:extLst>
              <a:ext uri="{FF2B5EF4-FFF2-40B4-BE49-F238E27FC236}">
                <a16:creationId xmlns:a16="http://schemas.microsoft.com/office/drawing/2014/main" id="{EA2D2A9C-FB19-4CE8-842D-13DC908CACFD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6144108"/>
            <a:ext cx="1512035" cy="1309354"/>
            <a:chOff x="0" y="0"/>
            <a:chExt cx="4282440" cy="3708400"/>
          </a:xfrm>
        </p:grpSpPr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19222F95-4207-4D2D-8A18-08A32B770EBA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53" name="ZoneTexte 30">
            <a:extLst>
              <a:ext uri="{FF2B5EF4-FFF2-40B4-BE49-F238E27FC236}">
                <a16:creationId xmlns:a16="http://schemas.microsoft.com/office/drawing/2014/main" id="{79FD775C-D0F2-4585-BA01-8AB9B4D820C5}"/>
              </a:ext>
            </a:extLst>
          </p:cNvPr>
          <p:cNvSpPr txBox="1"/>
          <p:nvPr/>
        </p:nvSpPr>
        <p:spPr>
          <a:xfrm>
            <a:off x="9652000" y="6535578"/>
            <a:ext cx="2844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4" name="Connecteur droit 32">
            <a:extLst>
              <a:ext uri="{FF2B5EF4-FFF2-40B4-BE49-F238E27FC236}">
                <a16:creationId xmlns:a16="http://schemas.microsoft.com/office/drawing/2014/main" id="{4E00AFE8-E42C-472B-81AF-8B93B9A36CC7}"/>
              </a:ext>
            </a:extLst>
          </p:cNvPr>
          <p:cNvCxnSpPr/>
          <p:nvPr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954478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787EFD-E633-729D-1E35-6149E1667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65706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AFD430C-9AAD-447B-22C6-F29FCA3A12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208868"/>
            <a:ext cx="10515600" cy="4968624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8" name="Group 3">
            <a:extLst>
              <a:ext uri="{FF2B5EF4-FFF2-40B4-BE49-F238E27FC236}">
                <a16:creationId xmlns:a16="http://schemas.microsoft.com/office/drawing/2014/main" id="{CCCCB5CB-8202-C82F-DAE4-2BA9DA66E5C9}"/>
              </a:ext>
            </a:extLst>
          </p:cNvPr>
          <p:cNvGrpSpPr>
            <a:grpSpLocks noChangeAspect="1"/>
          </p:cNvGrpSpPr>
          <p:nvPr/>
        </p:nvGrpSpPr>
        <p:grpSpPr>
          <a:xfrm>
            <a:off x="8310447" y="2976447"/>
            <a:ext cx="3881553" cy="3881553"/>
            <a:chOff x="0" y="0"/>
            <a:chExt cx="6350000" cy="6350000"/>
          </a:xfrm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D7013DD4-0F71-A24E-1A1C-B5E113905D6A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A2EF51-C4BD-0BF5-CDA6-B5C334CBF8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8873666">
            <a:off x="8675748" y="4956869"/>
            <a:ext cx="4058681" cy="812800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7" name="Group 3">
            <a:extLst>
              <a:ext uri="{FF2B5EF4-FFF2-40B4-BE49-F238E27FC236}">
                <a16:creationId xmlns:a16="http://schemas.microsoft.com/office/drawing/2014/main" id="{65226802-8905-417F-B274-16F6D39C6C02}"/>
              </a:ext>
            </a:extLst>
          </p:cNvPr>
          <p:cNvGrpSpPr>
            <a:grpSpLocks noChangeAspect="1"/>
          </p:cNvGrpSpPr>
          <p:nvPr/>
        </p:nvGrpSpPr>
        <p:grpSpPr>
          <a:xfrm>
            <a:off x="8310447" y="2976447"/>
            <a:ext cx="3881553" cy="3881553"/>
            <a:chOff x="0" y="0"/>
            <a:chExt cx="6350000" cy="635000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C554F417-EF35-4AE3-AA15-1BD0B9DF66D0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</p:spTree>
    <p:extLst>
      <p:ext uri="{BB962C8B-B14F-4D97-AF65-F5344CB8AC3E}">
        <p14:creationId xmlns:p14="http://schemas.microsoft.com/office/powerpoint/2010/main" val="377613958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>
            <a:extLst>
              <a:ext uri="{FF2B5EF4-FFF2-40B4-BE49-F238E27FC236}">
                <a16:creationId xmlns:a16="http://schemas.microsoft.com/office/drawing/2014/main" id="{FFFF934C-B719-D64C-6950-DB2144B26250}"/>
              </a:ext>
            </a:extLst>
          </p:cNvPr>
          <p:cNvGrpSpPr>
            <a:grpSpLocks noChangeAspect="1"/>
          </p:cNvGrpSpPr>
          <p:nvPr/>
        </p:nvGrpSpPr>
        <p:grpSpPr>
          <a:xfrm rot="-9557326">
            <a:off x="-772341" y="-1725855"/>
            <a:ext cx="6801264" cy="6801264"/>
            <a:chOff x="0" y="0"/>
            <a:chExt cx="6350000" cy="6350000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85E54572-8C2C-DF20-1988-DC16E94D105C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alphaModFix amt="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6A2483E-413F-C3B8-E2B3-D413F0C34F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6083" y="3115071"/>
            <a:ext cx="5157259" cy="4476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A00D3B7-6D1F-67A6-9B98-AD523EB741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6083" y="3657923"/>
            <a:ext cx="5157259" cy="253206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1903D66-C3F7-B452-C00E-8D76F1FBD5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70628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71F842D-2342-FBED-7119-99A0A2BE37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529665"/>
            <a:ext cx="5183717" cy="4660528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2" name="AutoShape 3">
            <a:extLst>
              <a:ext uri="{FF2B5EF4-FFF2-40B4-BE49-F238E27FC236}">
                <a16:creationId xmlns:a16="http://schemas.microsoft.com/office/drawing/2014/main" id="{692268E6-5EAA-1ABD-6AEF-F579E2E043C5}"/>
              </a:ext>
            </a:extLst>
          </p:cNvPr>
          <p:cNvSpPr/>
          <p:nvPr/>
        </p:nvSpPr>
        <p:spPr>
          <a:xfrm rot="5400000">
            <a:off x="3321147" y="3618334"/>
            <a:ext cx="5092507" cy="50800"/>
          </a:xfrm>
          <a:prstGeom prst="line">
            <a:avLst/>
          </a:prstGeom>
          <a:ln w="9525" cap="rnd">
            <a:solidFill>
              <a:srgbClr val="292929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29454BF6-5CF9-605C-F5B1-B069DA8CB3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20156412">
            <a:off x="99568" y="843864"/>
            <a:ext cx="4596954" cy="1371600"/>
          </a:xfrm>
          <a:prstGeom prst="rect">
            <a:avLst/>
          </a:prstGeom>
        </p:spPr>
        <p:txBody>
          <a:bodyPr/>
          <a:lstStyle>
            <a:lvl1pPr>
              <a:defRPr sz="1733" b="1" i="0">
                <a:latin typeface="Poppins" pitchFamily="2" charset="77"/>
                <a:cs typeface="Poppins" pitchFamily="2" charset="77"/>
              </a:defRPr>
            </a:lvl1pPr>
            <a:lvl2pPr>
              <a:defRPr sz="1733" b="1" i="0">
                <a:latin typeface="Poppins" pitchFamily="2" charset="77"/>
                <a:cs typeface="Poppins" pitchFamily="2" charset="77"/>
              </a:defRPr>
            </a:lvl2pPr>
            <a:lvl3pPr>
              <a:defRPr sz="1733" b="1" i="0">
                <a:latin typeface="Poppins" pitchFamily="2" charset="77"/>
                <a:cs typeface="Poppins" pitchFamily="2" charset="77"/>
              </a:defRPr>
            </a:lvl3pPr>
            <a:lvl4pPr>
              <a:defRPr sz="1733" b="1" i="0">
                <a:latin typeface="Poppins" pitchFamily="2" charset="77"/>
                <a:cs typeface="Poppins" pitchFamily="2" charset="77"/>
              </a:defRPr>
            </a:lvl4pPr>
            <a:lvl5pPr>
              <a:defRPr sz="1733" b="1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1EE77FFA-5EF5-8069-8E06-B478DCAA1005}"/>
              </a:ext>
            </a:extLst>
          </p:cNvPr>
          <p:cNvSpPr txBox="1"/>
          <p:nvPr/>
        </p:nvSpPr>
        <p:spPr>
          <a:xfrm>
            <a:off x="8737600" y="6535579"/>
            <a:ext cx="3352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40E7199-AB3D-0B9E-F54D-7ADEDF56C1AD}"/>
              </a:ext>
            </a:extLst>
          </p:cNvPr>
          <p:cNvCxnSpPr/>
          <p:nvPr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4">
            <a:extLst>
              <a:ext uri="{FF2B5EF4-FFF2-40B4-BE49-F238E27FC236}">
                <a16:creationId xmlns:a16="http://schemas.microsoft.com/office/drawing/2014/main" id="{0DC41606-F8D8-48F0-818F-2D21E010B57C}"/>
              </a:ext>
            </a:extLst>
          </p:cNvPr>
          <p:cNvGrpSpPr>
            <a:grpSpLocks noChangeAspect="1"/>
          </p:cNvGrpSpPr>
          <p:nvPr/>
        </p:nvGrpSpPr>
        <p:grpSpPr>
          <a:xfrm rot="-9557326">
            <a:off x="-772341" y="-1725855"/>
            <a:ext cx="6801264" cy="6801264"/>
            <a:chOff x="0" y="0"/>
            <a:chExt cx="6350000" cy="6350000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FC94BC9-5B15-4B56-A690-FECF762B5CBB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alphaModFix amt="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8" name="AutoShape 3">
            <a:extLst>
              <a:ext uri="{FF2B5EF4-FFF2-40B4-BE49-F238E27FC236}">
                <a16:creationId xmlns:a16="http://schemas.microsoft.com/office/drawing/2014/main" id="{05864A85-CEE8-46AA-A2BA-7208DA74684D}"/>
              </a:ext>
            </a:extLst>
          </p:cNvPr>
          <p:cNvSpPr/>
          <p:nvPr/>
        </p:nvSpPr>
        <p:spPr>
          <a:xfrm rot="5400000">
            <a:off x="3321147" y="3618334"/>
            <a:ext cx="5092507" cy="50800"/>
          </a:xfrm>
          <a:prstGeom prst="line">
            <a:avLst/>
          </a:prstGeom>
          <a:ln w="9525" cap="rnd">
            <a:solidFill>
              <a:srgbClr val="292929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9" name="ZoneTexte 12">
            <a:extLst>
              <a:ext uri="{FF2B5EF4-FFF2-40B4-BE49-F238E27FC236}">
                <a16:creationId xmlns:a16="http://schemas.microsoft.com/office/drawing/2014/main" id="{ACFCD919-A456-47FA-9110-B718DB606E23}"/>
              </a:ext>
            </a:extLst>
          </p:cNvPr>
          <p:cNvSpPr txBox="1"/>
          <p:nvPr/>
        </p:nvSpPr>
        <p:spPr>
          <a:xfrm>
            <a:off x="8737600" y="6535579"/>
            <a:ext cx="3352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20" name="Connecteur droit 14">
            <a:extLst>
              <a:ext uri="{FF2B5EF4-FFF2-40B4-BE49-F238E27FC236}">
                <a16:creationId xmlns:a16="http://schemas.microsoft.com/office/drawing/2014/main" id="{EB59CCBE-A513-44EF-B0D6-9E2282369AD8}"/>
              </a:ext>
            </a:extLst>
          </p:cNvPr>
          <p:cNvCxnSpPr/>
          <p:nvPr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583513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">
            <a:extLst>
              <a:ext uri="{FF2B5EF4-FFF2-40B4-BE49-F238E27FC236}">
                <a16:creationId xmlns:a16="http://schemas.microsoft.com/office/drawing/2014/main" id="{E6EF86D9-21F0-B1D3-2DCB-0E073A3EA68E}"/>
              </a:ext>
            </a:extLst>
          </p:cNvPr>
          <p:cNvGrpSpPr>
            <a:grpSpLocks noChangeAspect="1"/>
          </p:cNvGrpSpPr>
          <p:nvPr/>
        </p:nvGrpSpPr>
        <p:grpSpPr>
          <a:xfrm>
            <a:off x="9018827" y="3617598"/>
            <a:ext cx="3881553" cy="3881553"/>
            <a:chOff x="0" y="0"/>
            <a:chExt cx="6350000" cy="6350000"/>
          </a:xfrm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815721DF-CE49-1528-21D3-75ADA5689DAC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74AEF1BC-A3D0-8FBA-B1CD-F9CACE4B5804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EEF05428-CA87-64CB-3D38-205817364CA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re 1">
            <a:extLst>
              <a:ext uri="{FF2B5EF4-FFF2-40B4-BE49-F238E27FC236}">
                <a16:creationId xmlns:a16="http://schemas.microsoft.com/office/drawing/2014/main" id="{10CFD663-554B-AEA0-227A-D0020BED4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356A9C79-E0DA-2C04-F91A-A03A612D51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11" name="Group 3">
            <a:extLst>
              <a:ext uri="{FF2B5EF4-FFF2-40B4-BE49-F238E27FC236}">
                <a16:creationId xmlns:a16="http://schemas.microsoft.com/office/drawing/2014/main" id="{344E2483-53BB-4026-A87C-38BB73F80840}"/>
              </a:ext>
            </a:extLst>
          </p:cNvPr>
          <p:cNvGrpSpPr>
            <a:grpSpLocks noChangeAspect="1"/>
          </p:cNvGrpSpPr>
          <p:nvPr/>
        </p:nvGrpSpPr>
        <p:grpSpPr>
          <a:xfrm>
            <a:off x="9018827" y="3617598"/>
            <a:ext cx="3881553" cy="3881553"/>
            <a:chOff x="0" y="0"/>
            <a:chExt cx="6350000" cy="6350000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829C1CC5-ECF5-4C8B-ABA3-140C13F8967D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6" name="ZoneTexte 9">
            <a:extLst>
              <a:ext uri="{FF2B5EF4-FFF2-40B4-BE49-F238E27FC236}">
                <a16:creationId xmlns:a16="http://schemas.microsoft.com/office/drawing/2014/main" id="{49B267D3-4667-4928-BC52-B2B37EC0DC23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7" name="Connecteur droit 12">
            <a:extLst>
              <a:ext uri="{FF2B5EF4-FFF2-40B4-BE49-F238E27FC236}">
                <a16:creationId xmlns:a16="http://schemas.microsoft.com/office/drawing/2014/main" id="{68F5E20C-4A10-4D5F-97F2-2E6E448E123C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863652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787EFD-E633-729D-1E35-6149E1667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65706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AFD430C-9AAD-447B-22C6-F29FCA3A12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208868"/>
            <a:ext cx="10515600" cy="4968624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8" name="Group 3">
            <a:extLst>
              <a:ext uri="{FF2B5EF4-FFF2-40B4-BE49-F238E27FC236}">
                <a16:creationId xmlns:a16="http://schemas.microsoft.com/office/drawing/2014/main" id="{CCCCB5CB-8202-C82F-DAE4-2BA9DA66E5C9}"/>
              </a:ext>
            </a:extLst>
          </p:cNvPr>
          <p:cNvGrpSpPr>
            <a:grpSpLocks noChangeAspect="1"/>
          </p:cNvGrpSpPr>
          <p:nvPr/>
        </p:nvGrpSpPr>
        <p:grpSpPr>
          <a:xfrm>
            <a:off x="8310447" y="2976447"/>
            <a:ext cx="3881553" cy="3881553"/>
            <a:chOff x="0" y="0"/>
            <a:chExt cx="6350000" cy="6350000"/>
          </a:xfrm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D7013DD4-0F71-A24E-1A1C-B5E113905D6A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A2EF51-C4BD-0BF5-CDA6-B5C334CBF8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8873666">
            <a:off x="8675748" y="4956869"/>
            <a:ext cx="4058681" cy="812800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70547504"/>
      </p:ext>
    </p:extLst>
  </p:cSld>
  <p:clrMapOvr>
    <a:masterClrMapping/>
  </p:clrMapOvr>
  <p:hf sldNum="0"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3650337-9033-FF5E-51B6-2303826B0E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8001" y="1244600"/>
            <a:ext cx="5435600" cy="49455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9440C862-784F-E2C2-886F-26668F2D732A}"/>
              </a:ext>
            </a:extLst>
          </p:cNvPr>
          <p:cNvGrpSpPr/>
          <p:nvPr/>
        </p:nvGrpSpPr>
        <p:grpSpPr>
          <a:xfrm rot="3608892">
            <a:off x="8774233" y="6100994"/>
            <a:ext cx="717435" cy="968494"/>
            <a:chOff x="9824704" y="-2020392"/>
            <a:chExt cx="9270979" cy="12307392"/>
          </a:xfrm>
        </p:grpSpPr>
        <p:grpSp>
          <p:nvGrpSpPr>
            <p:cNvPr id="8" name="Group 3">
              <a:extLst>
                <a:ext uri="{FF2B5EF4-FFF2-40B4-BE49-F238E27FC236}">
                  <a16:creationId xmlns:a16="http://schemas.microsoft.com/office/drawing/2014/main" id="{FC664A38-FFB6-95B8-4D0B-5594950345E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17" name="Freeform 4">
                <a:extLst>
                  <a:ext uri="{FF2B5EF4-FFF2-40B4-BE49-F238E27FC236}">
                    <a16:creationId xmlns:a16="http://schemas.microsoft.com/office/drawing/2014/main" id="{FC65CC07-FA89-645E-05F6-4682617E5751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9" name="Group 5">
              <a:extLst>
                <a:ext uri="{FF2B5EF4-FFF2-40B4-BE49-F238E27FC236}">
                  <a16:creationId xmlns:a16="http://schemas.microsoft.com/office/drawing/2014/main" id="{4FF1A394-D2CA-1AAB-EC81-47E59C1A54F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C620384C-BBBF-F76F-3BE5-7B143F4229FF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0" name="Group 7">
              <a:extLst>
                <a:ext uri="{FF2B5EF4-FFF2-40B4-BE49-F238E27FC236}">
                  <a16:creationId xmlns:a16="http://schemas.microsoft.com/office/drawing/2014/main" id="{11FE0FAC-BB70-281A-04F9-8D183F02357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C0773B33-7935-36AE-5DDD-89F1F8C9CC87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1" name="Group 9">
              <a:extLst>
                <a:ext uri="{FF2B5EF4-FFF2-40B4-BE49-F238E27FC236}">
                  <a16:creationId xmlns:a16="http://schemas.microsoft.com/office/drawing/2014/main" id="{97A04955-0EB6-236A-9A8A-193FBDA9C7F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E8BCB372-1D58-5FC9-1CCB-13FC7E8EC6B9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C6D9524-CEAA-B1FE-A06D-7205621E199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2D6273D6-E45E-8965-36FC-D331666B69E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1457F6D-D459-E725-646D-C9AFE4BED8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8522" y="124460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10198595-669E-5CD1-643E-C781B091C6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158999"/>
            <a:ext cx="5183717" cy="403119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D6AC2CD9-5DFE-0E63-86C2-7DCC72DF8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7D738DFE-3F42-C4F4-034D-2428872458F3}"/>
              </a:ext>
            </a:extLst>
          </p:cNvPr>
          <p:cNvSpPr txBox="1"/>
          <p:nvPr/>
        </p:nvSpPr>
        <p:spPr>
          <a:xfrm>
            <a:off x="9702800" y="6535579"/>
            <a:ext cx="279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09AEB984-B2B6-9D61-4AFB-DAD2DB70C812}"/>
              </a:ext>
            </a:extLst>
          </p:cNvPr>
          <p:cNvCxnSpPr>
            <a:cxnSpLocks/>
          </p:cNvCxnSpPr>
          <p:nvPr/>
        </p:nvCxnSpPr>
        <p:spPr>
          <a:xfrm flipV="1">
            <a:off x="8537452" y="6477001"/>
            <a:ext cx="3654549" cy="158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e 6">
            <a:extLst>
              <a:ext uri="{FF2B5EF4-FFF2-40B4-BE49-F238E27FC236}">
                <a16:creationId xmlns:a16="http://schemas.microsoft.com/office/drawing/2014/main" id="{7E7F1C40-9256-405B-929E-BCD7DB69DE70}"/>
              </a:ext>
            </a:extLst>
          </p:cNvPr>
          <p:cNvGrpSpPr/>
          <p:nvPr/>
        </p:nvGrpSpPr>
        <p:grpSpPr>
          <a:xfrm rot="3608892">
            <a:off x="8774233" y="6100994"/>
            <a:ext cx="717435" cy="968494"/>
            <a:chOff x="9824704" y="-2020392"/>
            <a:chExt cx="9270979" cy="12307392"/>
          </a:xfrm>
        </p:grpSpPr>
        <p:grpSp>
          <p:nvGrpSpPr>
            <p:cNvPr id="24" name="Group 3">
              <a:extLst>
                <a:ext uri="{FF2B5EF4-FFF2-40B4-BE49-F238E27FC236}">
                  <a16:creationId xmlns:a16="http://schemas.microsoft.com/office/drawing/2014/main" id="{6178A4A1-8F9B-4306-841B-CC9926C6985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33" name="Freeform 4">
                <a:extLst>
                  <a:ext uri="{FF2B5EF4-FFF2-40B4-BE49-F238E27FC236}">
                    <a16:creationId xmlns:a16="http://schemas.microsoft.com/office/drawing/2014/main" id="{864C3BF5-45D6-4698-8652-9BDF6A34B751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5" name="Group 5">
              <a:extLst>
                <a:ext uri="{FF2B5EF4-FFF2-40B4-BE49-F238E27FC236}">
                  <a16:creationId xmlns:a16="http://schemas.microsoft.com/office/drawing/2014/main" id="{46B6E6C5-5BDE-40D0-A011-1ABEE10023A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32" name="Freeform 6">
                <a:extLst>
                  <a:ext uri="{FF2B5EF4-FFF2-40B4-BE49-F238E27FC236}">
                    <a16:creationId xmlns:a16="http://schemas.microsoft.com/office/drawing/2014/main" id="{6C7C1282-BA2E-4903-A381-CAF29584E3FF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6" name="Group 7">
              <a:extLst>
                <a:ext uri="{FF2B5EF4-FFF2-40B4-BE49-F238E27FC236}">
                  <a16:creationId xmlns:a16="http://schemas.microsoft.com/office/drawing/2014/main" id="{79B91CC2-7E55-4480-B4BB-BE320E96E2B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885D579E-64D3-4564-BEA1-70040456BECF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7" name="Group 9">
              <a:extLst>
                <a:ext uri="{FF2B5EF4-FFF2-40B4-BE49-F238E27FC236}">
                  <a16:creationId xmlns:a16="http://schemas.microsoft.com/office/drawing/2014/main" id="{4A2805AC-CCD7-4244-8ED3-DF401119ECF0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E0104C6B-3010-41C8-902D-E21F6331D40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ADBF3648-13C6-4C7C-9D75-8EEFAC32761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74C77D9D-0C4A-45C5-9542-861378EEE76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34" name="ZoneTexte 20">
            <a:extLst>
              <a:ext uri="{FF2B5EF4-FFF2-40B4-BE49-F238E27FC236}">
                <a16:creationId xmlns:a16="http://schemas.microsoft.com/office/drawing/2014/main" id="{7D4ECD9C-34E5-47BA-A830-9E794406C98B}"/>
              </a:ext>
            </a:extLst>
          </p:cNvPr>
          <p:cNvSpPr txBox="1"/>
          <p:nvPr/>
        </p:nvSpPr>
        <p:spPr>
          <a:xfrm>
            <a:off x="9702800" y="6535579"/>
            <a:ext cx="279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5" name="Connecteur droit 21">
            <a:extLst>
              <a:ext uri="{FF2B5EF4-FFF2-40B4-BE49-F238E27FC236}">
                <a16:creationId xmlns:a16="http://schemas.microsoft.com/office/drawing/2014/main" id="{5749C472-EBF4-421F-91F4-06CA75977667}"/>
              </a:ext>
            </a:extLst>
          </p:cNvPr>
          <p:cNvCxnSpPr>
            <a:cxnSpLocks/>
          </p:cNvCxnSpPr>
          <p:nvPr/>
        </p:nvCxnSpPr>
        <p:spPr>
          <a:xfrm flipV="1">
            <a:off x="8537452" y="6477001"/>
            <a:ext cx="3654549" cy="158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492557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1457F6D-D459-E725-646D-C9AFE4BED8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2206" y="124460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10198595-669E-5CD1-643E-C781B091C6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5884" y="2158999"/>
            <a:ext cx="5183717" cy="403119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D6AC2CD9-5DFE-0E63-86C2-7DCC72DF8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CB08C4A3-70DC-084E-18F4-3F50034EA23F}"/>
              </a:ext>
            </a:extLst>
          </p:cNvPr>
          <p:cNvGrpSpPr/>
          <p:nvPr/>
        </p:nvGrpSpPr>
        <p:grpSpPr>
          <a:xfrm rot="3608892">
            <a:off x="8948733" y="6087713"/>
            <a:ext cx="717435" cy="968494"/>
            <a:chOff x="9824704" y="-2020392"/>
            <a:chExt cx="9270979" cy="12307392"/>
          </a:xfrm>
        </p:grpSpPr>
        <p:grpSp>
          <p:nvGrpSpPr>
            <p:cNvPr id="22" name="Group 3">
              <a:extLst>
                <a:ext uri="{FF2B5EF4-FFF2-40B4-BE49-F238E27FC236}">
                  <a16:creationId xmlns:a16="http://schemas.microsoft.com/office/drawing/2014/main" id="{DDFA6BFA-2FE7-99BE-758C-9569FDDD44C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31" name="Freeform 4">
                <a:extLst>
                  <a:ext uri="{FF2B5EF4-FFF2-40B4-BE49-F238E27FC236}">
                    <a16:creationId xmlns:a16="http://schemas.microsoft.com/office/drawing/2014/main" id="{CE46B478-2F0D-825F-BF16-2A659AFCFEE5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3" name="Group 5">
              <a:extLst>
                <a:ext uri="{FF2B5EF4-FFF2-40B4-BE49-F238E27FC236}">
                  <a16:creationId xmlns:a16="http://schemas.microsoft.com/office/drawing/2014/main" id="{E283E192-00EF-7A8E-7AD8-D22CDB268D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30" name="Freeform 6">
                <a:extLst>
                  <a:ext uri="{FF2B5EF4-FFF2-40B4-BE49-F238E27FC236}">
                    <a16:creationId xmlns:a16="http://schemas.microsoft.com/office/drawing/2014/main" id="{90DD8469-F02C-6A43-A19C-5E64A23DEE4C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4" name="Group 7">
              <a:extLst>
                <a:ext uri="{FF2B5EF4-FFF2-40B4-BE49-F238E27FC236}">
                  <a16:creationId xmlns:a16="http://schemas.microsoft.com/office/drawing/2014/main" id="{1643DB72-1316-921F-DFE3-1006B726EA5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29" name="Freeform 8">
                <a:extLst>
                  <a:ext uri="{FF2B5EF4-FFF2-40B4-BE49-F238E27FC236}">
                    <a16:creationId xmlns:a16="http://schemas.microsoft.com/office/drawing/2014/main" id="{2FE68160-19F0-F1F0-B9C4-3C0FD6E8BC67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5" name="Group 9">
              <a:extLst>
                <a:ext uri="{FF2B5EF4-FFF2-40B4-BE49-F238E27FC236}">
                  <a16:creationId xmlns:a16="http://schemas.microsoft.com/office/drawing/2014/main" id="{2EE0AB81-F1DD-0DB6-2D0B-34FFABF60A4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2B4CB59E-473B-02BD-E5D1-80EEE7B1CF0D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6" name="Group 11">
              <a:extLst>
                <a:ext uri="{FF2B5EF4-FFF2-40B4-BE49-F238E27FC236}">
                  <a16:creationId xmlns:a16="http://schemas.microsoft.com/office/drawing/2014/main" id="{3287D850-881C-13A4-F56F-ABD12F4C26F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3E417AFC-2CF8-8F7F-1F6D-7F7632F3DDF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32" name="ZoneTexte 31">
            <a:extLst>
              <a:ext uri="{FF2B5EF4-FFF2-40B4-BE49-F238E27FC236}">
                <a16:creationId xmlns:a16="http://schemas.microsoft.com/office/drawing/2014/main" id="{6FEC2391-8F45-61C5-416A-6F010BFAB883}"/>
              </a:ext>
            </a:extLst>
          </p:cNvPr>
          <p:cNvSpPr txBox="1"/>
          <p:nvPr/>
        </p:nvSpPr>
        <p:spPr>
          <a:xfrm>
            <a:off x="9804400" y="6535579"/>
            <a:ext cx="2692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C7CA92CD-6A87-549B-196E-D39AEE96F3AB}"/>
              </a:ext>
            </a:extLst>
          </p:cNvPr>
          <p:cNvCxnSpPr>
            <a:cxnSpLocks/>
          </p:cNvCxnSpPr>
          <p:nvPr/>
        </p:nvCxnSpPr>
        <p:spPr>
          <a:xfrm>
            <a:off x="8711951" y="6477000"/>
            <a:ext cx="3480049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space réservé pour une image  3">
            <a:extLst>
              <a:ext uri="{FF2B5EF4-FFF2-40B4-BE49-F238E27FC236}">
                <a16:creationId xmlns:a16="http://schemas.microsoft.com/office/drawing/2014/main" id="{7117B56B-855E-289E-32EB-376310D2D6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69000" y="1244600"/>
            <a:ext cx="5511801" cy="49455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 dirty="0"/>
          </a:p>
        </p:txBody>
      </p:sp>
      <p:grpSp>
        <p:nvGrpSpPr>
          <p:cNvPr id="35" name="Groupe 20">
            <a:extLst>
              <a:ext uri="{FF2B5EF4-FFF2-40B4-BE49-F238E27FC236}">
                <a16:creationId xmlns:a16="http://schemas.microsoft.com/office/drawing/2014/main" id="{478EA35C-8E60-4A6F-AD34-06C346E0E9DC}"/>
              </a:ext>
            </a:extLst>
          </p:cNvPr>
          <p:cNvGrpSpPr/>
          <p:nvPr/>
        </p:nvGrpSpPr>
        <p:grpSpPr>
          <a:xfrm rot="3608892">
            <a:off x="8948733" y="6087713"/>
            <a:ext cx="717435" cy="968494"/>
            <a:chOff x="9824704" y="-2020392"/>
            <a:chExt cx="9270979" cy="12307392"/>
          </a:xfrm>
        </p:grpSpPr>
        <p:grpSp>
          <p:nvGrpSpPr>
            <p:cNvPr id="36" name="Group 3">
              <a:extLst>
                <a:ext uri="{FF2B5EF4-FFF2-40B4-BE49-F238E27FC236}">
                  <a16:creationId xmlns:a16="http://schemas.microsoft.com/office/drawing/2014/main" id="{1589983F-4637-43BF-9129-72889759EF4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45" name="Freeform 4">
                <a:extLst>
                  <a:ext uri="{FF2B5EF4-FFF2-40B4-BE49-F238E27FC236}">
                    <a16:creationId xmlns:a16="http://schemas.microsoft.com/office/drawing/2014/main" id="{4BF748F0-FD1D-462E-8A17-42BB7DA902E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7" name="Group 5">
              <a:extLst>
                <a:ext uri="{FF2B5EF4-FFF2-40B4-BE49-F238E27FC236}">
                  <a16:creationId xmlns:a16="http://schemas.microsoft.com/office/drawing/2014/main" id="{EFC4E96A-54C2-4484-B8D5-12E5BA8198A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44" name="Freeform 6">
                <a:extLst>
                  <a:ext uri="{FF2B5EF4-FFF2-40B4-BE49-F238E27FC236}">
                    <a16:creationId xmlns:a16="http://schemas.microsoft.com/office/drawing/2014/main" id="{477F6425-DFFE-43E8-B815-EEA4FF765DB6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8" name="Group 7">
              <a:extLst>
                <a:ext uri="{FF2B5EF4-FFF2-40B4-BE49-F238E27FC236}">
                  <a16:creationId xmlns:a16="http://schemas.microsoft.com/office/drawing/2014/main" id="{4D654E09-182F-4037-8D49-08BBF3DDCC1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43" name="Freeform 8">
                <a:extLst>
                  <a:ext uri="{FF2B5EF4-FFF2-40B4-BE49-F238E27FC236}">
                    <a16:creationId xmlns:a16="http://schemas.microsoft.com/office/drawing/2014/main" id="{A7068070-8F55-48AB-85BD-36BBC4089F14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9" name="Group 9">
              <a:extLst>
                <a:ext uri="{FF2B5EF4-FFF2-40B4-BE49-F238E27FC236}">
                  <a16:creationId xmlns:a16="http://schemas.microsoft.com/office/drawing/2014/main" id="{71FD5FC3-895A-40CB-A11E-77CE78A2C3C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42" name="Freeform 10">
                <a:extLst>
                  <a:ext uri="{FF2B5EF4-FFF2-40B4-BE49-F238E27FC236}">
                    <a16:creationId xmlns:a16="http://schemas.microsoft.com/office/drawing/2014/main" id="{BC2F9E8F-FC58-4968-9008-3B00B3C8AF1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40" name="Group 11">
              <a:extLst>
                <a:ext uri="{FF2B5EF4-FFF2-40B4-BE49-F238E27FC236}">
                  <a16:creationId xmlns:a16="http://schemas.microsoft.com/office/drawing/2014/main" id="{0B9FB7AA-2E1A-46F5-8007-3FDAF1AD1BFB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41" name="Freeform 12">
                <a:extLst>
                  <a:ext uri="{FF2B5EF4-FFF2-40B4-BE49-F238E27FC236}">
                    <a16:creationId xmlns:a16="http://schemas.microsoft.com/office/drawing/2014/main" id="{00116D8C-306F-479B-9820-AC099721FF57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46" name="ZoneTexte 31">
            <a:extLst>
              <a:ext uri="{FF2B5EF4-FFF2-40B4-BE49-F238E27FC236}">
                <a16:creationId xmlns:a16="http://schemas.microsoft.com/office/drawing/2014/main" id="{56F50333-62A8-4708-BC53-E9F6A46EBF5A}"/>
              </a:ext>
            </a:extLst>
          </p:cNvPr>
          <p:cNvSpPr txBox="1"/>
          <p:nvPr/>
        </p:nvSpPr>
        <p:spPr>
          <a:xfrm>
            <a:off x="9804400" y="6535579"/>
            <a:ext cx="26924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47" name="Connecteur droit 32">
            <a:extLst>
              <a:ext uri="{FF2B5EF4-FFF2-40B4-BE49-F238E27FC236}">
                <a16:creationId xmlns:a16="http://schemas.microsoft.com/office/drawing/2014/main" id="{43B2C7BE-B630-4CBD-89F9-011885FAA7C0}"/>
              </a:ext>
            </a:extLst>
          </p:cNvPr>
          <p:cNvCxnSpPr>
            <a:cxnSpLocks/>
          </p:cNvCxnSpPr>
          <p:nvPr/>
        </p:nvCxnSpPr>
        <p:spPr>
          <a:xfrm>
            <a:off x="8711951" y="6477000"/>
            <a:ext cx="3480049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828890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2">
    <p:bg>
      <p:bgPr>
        <a:solidFill>
          <a:srgbClr val="0B81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9C2699-AC7A-E9E6-7BA2-B178F4AB02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3600" y="1122892"/>
            <a:ext cx="9804400" cy="2387600"/>
          </a:xfrm>
          <a:prstGeom prst="rect">
            <a:avLst/>
          </a:prstGeom>
        </p:spPr>
        <p:txBody>
          <a:bodyPr anchor="b"/>
          <a:lstStyle>
            <a:lvl1pPr algn="l">
              <a:defRPr sz="64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15A4625-51AA-B632-6852-324A2C3FE561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A5FF4C7F-E857-B170-8567-5B89E8D8AAAF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8">
            <a:extLst>
              <a:ext uri="{FF2B5EF4-FFF2-40B4-BE49-F238E27FC236}">
                <a16:creationId xmlns:a16="http://schemas.microsoft.com/office/drawing/2014/main" id="{F89F8A43-6324-4C46-ABF6-C9E482EA2835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6" name="Connecteur droit 9">
            <a:extLst>
              <a:ext uri="{FF2B5EF4-FFF2-40B4-BE49-F238E27FC236}">
                <a16:creationId xmlns:a16="http://schemas.microsoft.com/office/drawing/2014/main" id="{AC733A90-1D3D-4E91-8791-4DBB5593C10B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800542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4">
    <p:bg>
      <p:bgPr>
        <a:solidFill>
          <a:srgbClr val="2A99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6B0116-D034-7B82-665D-3BB36B4BC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889000"/>
            <a:ext cx="8566150" cy="557741"/>
          </a:xfrm>
          <a:prstGeom prst="rect">
            <a:avLst/>
          </a:prstGeom>
        </p:spPr>
        <p:txBody>
          <a:bodyPr anchor="b"/>
          <a:lstStyle>
            <a:lvl1pPr algn="ctr">
              <a:defRPr sz="24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FFCA881-C301-6987-35A4-2D7A1F0D048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73200" y="1614336"/>
            <a:ext cx="7924801" cy="4430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  <a:lvl2pPr marL="304815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220643-49B0-404B-2FFB-A4E3A84C40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flipH="1">
            <a:off x="5576444" y="3281588"/>
            <a:ext cx="7853771" cy="3455659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BBA06323-73C3-F075-50C6-5AFDD66F3B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36000" y="2921000"/>
            <a:ext cx="3403600" cy="1117600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  <a:lvl2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2pPr>
            <a:lvl3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3pPr>
            <a:lvl4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4pPr>
            <a:lvl5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71A552A1-A49E-3667-80E6-812C54F821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1850" y="2921000"/>
            <a:ext cx="4400550" cy="2844496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2pPr>
            <a:lvl3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3pPr>
            <a:lvl4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4pPr>
            <a:lvl5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3EAF698-867A-AA72-A3B9-C2FA8904A453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 2022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B980B541-87FF-6818-C5EF-62E1E62893EF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">
            <a:extLst>
              <a:ext uri="{FF2B5EF4-FFF2-40B4-BE49-F238E27FC236}">
                <a16:creationId xmlns:a16="http://schemas.microsoft.com/office/drawing/2014/main" id="{F7180E06-7FE9-4833-996C-2E88F2879DE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>
            <a:fillRect/>
          </a:stretch>
        </p:blipFill>
        <p:spPr>
          <a:xfrm flipH="1">
            <a:off x="5576444" y="3281588"/>
            <a:ext cx="7853771" cy="3455659"/>
          </a:xfrm>
          <a:prstGeom prst="rect">
            <a:avLst/>
          </a:prstGeom>
        </p:spPr>
      </p:pic>
      <p:sp>
        <p:nvSpPr>
          <p:cNvPr id="14" name="ZoneTexte 11">
            <a:extLst>
              <a:ext uri="{FF2B5EF4-FFF2-40B4-BE49-F238E27FC236}">
                <a16:creationId xmlns:a16="http://schemas.microsoft.com/office/drawing/2014/main" id="{93A24646-3BB0-4861-BF60-37482A4F57FB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 2022</a:t>
            </a:r>
          </a:p>
        </p:txBody>
      </p:sp>
      <p:cxnSp>
        <p:nvCxnSpPr>
          <p:cNvPr id="15" name="Connecteur droit 12">
            <a:extLst>
              <a:ext uri="{FF2B5EF4-FFF2-40B4-BE49-F238E27FC236}">
                <a16:creationId xmlns:a16="http://schemas.microsoft.com/office/drawing/2014/main" id="{E32CBB25-74E7-4D31-AC37-0E273B9EE49D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324415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lide 7">
    <p:bg>
      <p:bgPr>
        <a:solidFill>
          <a:srgbClr val="FDD9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29B772-47FA-A598-5C21-372863AB2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28763"/>
            <a:ext cx="9271000" cy="1326091"/>
          </a:xfrm>
          <a:prstGeom prst="rect">
            <a:avLst/>
          </a:prstGeom>
        </p:spPr>
        <p:txBody>
          <a:bodyPr/>
          <a:lstStyle>
            <a:lvl1pPr algn="ctr">
              <a:defRPr sz="8000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654D700-40AB-67FB-A664-06EABDDA417D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 2022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7070B578-4E2A-E210-3400-AB221B8B7B7D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8">
            <a:extLst>
              <a:ext uri="{FF2B5EF4-FFF2-40B4-BE49-F238E27FC236}">
                <a16:creationId xmlns:a16="http://schemas.microsoft.com/office/drawing/2014/main" id="{300D1424-CDF5-47C6-9FD9-76A8D4B5FE99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 2022</a:t>
            </a:r>
          </a:p>
        </p:txBody>
      </p:sp>
      <p:cxnSp>
        <p:nvCxnSpPr>
          <p:cNvPr id="6" name="Connecteur droit 9">
            <a:extLst>
              <a:ext uri="{FF2B5EF4-FFF2-40B4-BE49-F238E27FC236}">
                <a16:creationId xmlns:a16="http://schemas.microsoft.com/office/drawing/2014/main" id="{BD36A3D9-E296-4E03-BC20-595B36375D22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630431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8">
    <p:bg>
      <p:bgPr>
        <a:solidFill>
          <a:srgbClr val="FC7A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B178F2-1499-D8A5-397B-450410B1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457200"/>
            <a:ext cx="10081683" cy="787400"/>
          </a:xfrm>
          <a:prstGeom prst="rect">
            <a:avLst/>
          </a:prstGeom>
        </p:spPr>
        <p:txBody>
          <a:bodyPr anchor="b"/>
          <a:lstStyle>
            <a:lvl1pPr>
              <a:defRPr sz="44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2B305B0-6FF4-8121-C0C8-F8A11F3E94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0317" y="1549400"/>
            <a:ext cx="10515600" cy="43116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  <a:lvl2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2pPr>
            <a:lvl3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3pPr>
            <a:lvl4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4pPr>
            <a:lvl5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240841F2-E156-7087-C5E5-65CFD62F7B23}"/>
              </a:ext>
            </a:extLst>
          </p:cNvPr>
          <p:cNvGrpSpPr/>
          <p:nvPr/>
        </p:nvGrpSpPr>
        <p:grpSpPr>
          <a:xfrm>
            <a:off x="6691079" y="0"/>
            <a:ext cx="5500921" cy="6909709"/>
            <a:chOff x="0" y="0"/>
            <a:chExt cx="11001842" cy="13819417"/>
          </a:xfrm>
        </p:grpSpPr>
        <p:pic>
          <p:nvPicPr>
            <p:cNvPr id="9" name="Picture 3">
              <a:extLst>
                <a:ext uri="{FF2B5EF4-FFF2-40B4-BE49-F238E27FC236}">
                  <a16:creationId xmlns:a16="http://schemas.microsoft.com/office/drawing/2014/main" id="{AE00EE06-6848-ACF3-C5A9-593CF19C0E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alphaModFix amt="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194" r="10194"/>
            <a:stretch>
              <a:fillRect/>
            </a:stretch>
          </p:blipFill>
          <p:spPr>
            <a:xfrm>
              <a:off x="0" y="0"/>
              <a:ext cx="11001842" cy="13819417"/>
            </a:xfrm>
            <a:prstGeom prst="rect">
              <a:avLst/>
            </a:prstGeom>
          </p:spPr>
        </p:pic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D01408C3-EE6B-65AE-8C0F-A04C9FF29190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</a:t>
            </a:r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Training 2022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F23883E3-AFF2-3F0D-FE24-5D37432AA8B8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2">
            <a:extLst>
              <a:ext uri="{FF2B5EF4-FFF2-40B4-BE49-F238E27FC236}">
                <a16:creationId xmlns:a16="http://schemas.microsoft.com/office/drawing/2014/main" id="{2997214C-0738-455A-8BC3-8F22C66AFAF2}"/>
              </a:ext>
            </a:extLst>
          </p:cNvPr>
          <p:cNvGrpSpPr/>
          <p:nvPr/>
        </p:nvGrpSpPr>
        <p:grpSpPr>
          <a:xfrm>
            <a:off x="6691079" y="0"/>
            <a:ext cx="5500921" cy="6909709"/>
            <a:chOff x="0" y="0"/>
            <a:chExt cx="11001842" cy="13819417"/>
          </a:xfrm>
        </p:grpSpPr>
        <p:pic>
          <p:nvPicPr>
            <p:cNvPr id="13" name="Picture 3">
              <a:extLst>
                <a:ext uri="{FF2B5EF4-FFF2-40B4-BE49-F238E27FC236}">
                  <a16:creationId xmlns:a16="http://schemas.microsoft.com/office/drawing/2014/main" id="{8D402436-BB8A-4B96-AEBD-0FD72F598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alphaModFix amt="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194" r="10194"/>
            <a:stretch>
              <a:fillRect/>
            </a:stretch>
          </p:blipFill>
          <p:spPr>
            <a:xfrm>
              <a:off x="0" y="0"/>
              <a:ext cx="11001842" cy="13819417"/>
            </a:xfrm>
            <a:prstGeom prst="rect">
              <a:avLst/>
            </a:prstGeom>
          </p:spPr>
        </p:pic>
      </p:grpSp>
      <p:sp>
        <p:nvSpPr>
          <p:cNvPr id="14" name="ZoneTexte 9">
            <a:extLst>
              <a:ext uri="{FF2B5EF4-FFF2-40B4-BE49-F238E27FC236}">
                <a16:creationId xmlns:a16="http://schemas.microsoft.com/office/drawing/2014/main" id="{3326AEC6-863E-4E73-AA6E-D0606D83FBB2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 err="1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</a:t>
            </a:r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 Training 2022</a:t>
            </a:r>
          </a:p>
        </p:txBody>
      </p:sp>
      <p:cxnSp>
        <p:nvCxnSpPr>
          <p:cNvPr id="15" name="Connecteur droit 10">
            <a:extLst>
              <a:ext uri="{FF2B5EF4-FFF2-40B4-BE49-F238E27FC236}">
                <a16:creationId xmlns:a16="http://schemas.microsoft.com/office/drawing/2014/main" id="{C0CD0A30-A1AC-4DD4-83E8-81FEDF4EF16B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447402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0">
    <p:bg>
      <p:bgPr>
        <a:solidFill>
          <a:srgbClr val="032B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F6950B-7896-288A-ED29-1588D0A3A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6091"/>
          </a:xfrm>
          <a:prstGeom prst="rect">
            <a:avLst/>
          </a:prstGeom>
        </p:spPr>
        <p:txBody>
          <a:bodyPr/>
          <a:lstStyle>
            <a:lvl1pPr>
              <a:defRPr sz="30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6DFED5E4-06C4-7DE1-A8E8-D6EEA6D6B8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874895"/>
              </p:ext>
            </p:extLst>
          </p:nvPr>
        </p:nvGraphicFramePr>
        <p:xfrm>
          <a:off x="851747" y="2209799"/>
          <a:ext cx="6311055" cy="3606796"/>
        </p:xfrm>
        <a:graphic>
          <a:graphicData uri="http://schemas.openxmlformats.org/drawingml/2006/table">
            <a:tbl>
              <a:tblPr/>
              <a:tblGrid>
                <a:gridCol w="210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ZoneTexte 9">
            <a:extLst>
              <a:ext uri="{FF2B5EF4-FFF2-40B4-BE49-F238E27FC236}">
                <a16:creationId xmlns:a16="http://schemas.microsoft.com/office/drawing/2014/main" id="{480B95F7-2882-9421-5183-9ACD82FCCF02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5138751E-9A12-2F27-0AF8-61120BED506E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15212B4F-30F0-4005-A57D-8A1015D196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1784454"/>
              </p:ext>
            </p:extLst>
          </p:nvPr>
        </p:nvGraphicFramePr>
        <p:xfrm>
          <a:off x="851747" y="2209799"/>
          <a:ext cx="6311055" cy="3606796"/>
        </p:xfrm>
        <a:graphic>
          <a:graphicData uri="http://schemas.openxmlformats.org/drawingml/2006/table">
            <a:tbl>
              <a:tblPr/>
              <a:tblGrid>
                <a:gridCol w="210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 dirty="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7" name="ZoneTexte 9">
            <a:extLst>
              <a:ext uri="{FF2B5EF4-FFF2-40B4-BE49-F238E27FC236}">
                <a16:creationId xmlns:a16="http://schemas.microsoft.com/office/drawing/2014/main" id="{CCE17ABA-AE7D-4748-9B3B-2DC49F6C306A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8" name="Connecteur droit 11">
            <a:extLst>
              <a:ext uri="{FF2B5EF4-FFF2-40B4-BE49-F238E27FC236}">
                <a16:creationId xmlns:a16="http://schemas.microsoft.com/office/drawing/2014/main" id="{6801A306-D99E-4A67-A5F9-FC86007D93DF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2569695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2">
    <p:bg>
      <p:bgPr>
        <a:solidFill>
          <a:srgbClr val="0B81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E78E7117-4A1C-F4A2-EB4A-6283B155A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11401"/>
            <a:ext cx="10515600" cy="1326091"/>
          </a:xfrm>
          <a:prstGeom prst="rect">
            <a:avLst/>
          </a:prstGeom>
        </p:spPr>
        <p:txBody>
          <a:bodyPr/>
          <a:lstStyle>
            <a:lvl1pPr>
              <a:defRPr sz="8000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91024A51-4193-8BB3-18C3-A7275B277A5F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6F7FC030-F010-B63C-5B90-9A3FD0605712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ZoneTexte 9">
            <a:extLst>
              <a:ext uri="{FF2B5EF4-FFF2-40B4-BE49-F238E27FC236}">
                <a16:creationId xmlns:a16="http://schemas.microsoft.com/office/drawing/2014/main" id="{2BFD5D57-2804-4D5E-B901-1691EB166FA1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6" name="Connecteur droit 10">
            <a:extLst>
              <a:ext uri="{FF2B5EF4-FFF2-40B4-BE49-F238E27FC236}">
                <a16:creationId xmlns:a16="http://schemas.microsoft.com/office/drawing/2014/main" id="{40285514-FF2D-4778-AD88-1B6AAED0D925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775300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3">
    <p:bg>
      <p:bgPr>
        <a:solidFill>
          <a:srgbClr val="FDD9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62C4CCC0-C8FF-3E89-EB2A-894261FB92FE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77B3945E-3250-1619-AD6C-D3FA26DE97C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3">
            <a:extLst>
              <a:ext uri="{FF2B5EF4-FFF2-40B4-BE49-F238E27FC236}">
                <a16:creationId xmlns:a16="http://schemas.microsoft.com/office/drawing/2014/main" id="{698D1918-A606-45EB-AB6E-473F5D2E6FCF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5648A5C3-764F-4FF6-A883-08BC19DA8E40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5493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4">
    <p:bg>
      <p:bgPr>
        <a:solidFill>
          <a:srgbClr val="FC7A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086DE16B-331B-EF9B-D63D-78B4178B23B4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F0333726-0B94-FE93-A8C7-FFCD9A29A6EE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3">
            <a:extLst>
              <a:ext uri="{FF2B5EF4-FFF2-40B4-BE49-F238E27FC236}">
                <a16:creationId xmlns:a16="http://schemas.microsoft.com/office/drawing/2014/main" id="{266439F6-92BF-4825-AFC1-146831AE9C61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51876523-A5BD-4FD3-B4C4-F3528541B2AA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660034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>
            <a:extLst>
              <a:ext uri="{FF2B5EF4-FFF2-40B4-BE49-F238E27FC236}">
                <a16:creationId xmlns:a16="http://schemas.microsoft.com/office/drawing/2014/main" id="{FFFF934C-B719-D64C-6950-DB2144B26250}"/>
              </a:ext>
            </a:extLst>
          </p:cNvPr>
          <p:cNvGrpSpPr>
            <a:grpSpLocks noChangeAspect="1"/>
          </p:cNvGrpSpPr>
          <p:nvPr/>
        </p:nvGrpSpPr>
        <p:grpSpPr>
          <a:xfrm rot="-9557326">
            <a:off x="-772341" y="-1725855"/>
            <a:ext cx="6801264" cy="6801264"/>
            <a:chOff x="0" y="0"/>
            <a:chExt cx="6350000" cy="6350000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85E54572-8C2C-DF20-1988-DC16E94D105C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alphaModFix amt="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6A2483E-413F-C3B8-E2B3-D413F0C34F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6083" y="3115071"/>
            <a:ext cx="5157259" cy="4476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A00D3B7-6D1F-67A6-9B98-AD523EB741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6083" y="3657923"/>
            <a:ext cx="5157259" cy="253206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1903D66-C3F7-B452-C00E-8D76F1FBD5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70628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71F842D-2342-FBED-7119-99A0A2BE37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529665"/>
            <a:ext cx="5183717" cy="4660528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2" name="AutoShape 3">
            <a:extLst>
              <a:ext uri="{FF2B5EF4-FFF2-40B4-BE49-F238E27FC236}">
                <a16:creationId xmlns:a16="http://schemas.microsoft.com/office/drawing/2014/main" id="{692268E6-5EAA-1ABD-6AEF-F579E2E043C5}"/>
              </a:ext>
            </a:extLst>
          </p:cNvPr>
          <p:cNvSpPr/>
          <p:nvPr/>
        </p:nvSpPr>
        <p:spPr>
          <a:xfrm rot="5400000">
            <a:off x="3321147" y="3618334"/>
            <a:ext cx="5092507" cy="50800"/>
          </a:xfrm>
          <a:prstGeom prst="line">
            <a:avLst/>
          </a:prstGeom>
          <a:ln w="9525" cap="rnd">
            <a:solidFill>
              <a:srgbClr val="292929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29454BF6-5CF9-605C-F5B1-B069DA8CB3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20156412">
            <a:off x="99568" y="843864"/>
            <a:ext cx="4596954" cy="1371600"/>
          </a:xfrm>
          <a:prstGeom prst="rect">
            <a:avLst/>
          </a:prstGeom>
        </p:spPr>
        <p:txBody>
          <a:bodyPr/>
          <a:lstStyle>
            <a:lvl1pPr>
              <a:defRPr sz="1733" b="1" i="0">
                <a:latin typeface="Poppins" pitchFamily="2" charset="77"/>
                <a:cs typeface="Poppins" pitchFamily="2" charset="77"/>
              </a:defRPr>
            </a:lvl1pPr>
            <a:lvl2pPr>
              <a:defRPr sz="1733" b="1" i="0">
                <a:latin typeface="Poppins" pitchFamily="2" charset="77"/>
                <a:cs typeface="Poppins" pitchFamily="2" charset="77"/>
              </a:defRPr>
            </a:lvl2pPr>
            <a:lvl3pPr>
              <a:defRPr sz="1733" b="1" i="0">
                <a:latin typeface="Poppins" pitchFamily="2" charset="77"/>
                <a:cs typeface="Poppins" pitchFamily="2" charset="77"/>
              </a:defRPr>
            </a:lvl3pPr>
            <a:lvl4pPr>
              <a:defRPr sz="1733" b="1" i="0">
                <a:latin typeface="Poppins" pitchFamily="2" charset="77"/>
                <a:cs typeface="Poppins" pitchFamily="2" charset="77"/>
              </a:defRPr>
            </a:lvl4pPr>
            <a:lvl5pPr>
              <a:defRPr sz="1733" b="1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1EE77FFA-5EF5-8069-8E06-B478DCAA1005}"/>
              </a:ext>
            </a:extLst>
          </p:cNvPr>
          <p:cNvSpPr txBox="1"/>
          <p:nvPr/>
        </p:nvSpPr>
        <p:spPr>
          <a:xfrm>
            <a:off x="8737600" y="6535579"/>
            <a:ext cx="3352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40E7199-AB3D-0B9E-F54D-7ADEDF56C1AD}"/>
              </a:ext>
            </a:extLst>
          </p:cNvPr>
          <p:cNvCxnSpPr/>
          <p:nvPr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0808715"/>
      </p:ext>
    </p:extLst>
  </p:cSld>
  <p:clrMapOvr>
    <a:masterClrMapping/>
  </p:clrMapOvr>
  <p:hf sldNum="0"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5">
    <p:bg>
      <p:bgPr>
        <a:solidFill>
          <a:srgbClr val="2A99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F4249773-7829-2639-CAD4-53A89902C226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EC69D02E-10EE-ED47-32D3-E99071AB4317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3">
            <a:extLst>
              <a:ext uri="{FF2B5EF4-FFF2-40B4-BE49-F238E27FC236}">
                <a16:creationId xmlns:a16="http://schemas.microsoft.com/office/drawing/2014/main" id="{5590F213-7120-421C-80C7-B69F7817CE16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0F9FA888-967F-4C13-9AF2-031A4BF5E147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6406734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6">
    <p:bg>
      <p:bgPr>
        <a:solidFill>
          <a:srgbClr val="032B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72628781-542C-9F56-75E5-5734B283FF86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893CBE26-6BFA-8EAA-053B-D984FBA72D37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ZoneTexte 1">
            <a:extLst>
              <a:ext uri="{FF2B5EF4-FFF2-40B4-BE49-F238E27FC236}">
                <a16:creationId xmlns:a16="http://schemas.microsoft.com/office/drawing/2014/main" id="{D3FD96F2-F163-42BA-97EE-BCAFB991A9DB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2">
            <a:extLst>
              <a:ext uri="{FF2B5EF4-FFF2-40B4-BE49-F238E27FC236}">
                <a16:creationId xmlns:a16="http://schemas.microsoft.com/office/drawing/2014/main" id="{0D5A5CCE-16D0-4145-B792-281F652C08C8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83436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7">
    <p:bg>
      <p:bgPr>
        <a:solidFill>
          <a:srgbClr val="0B81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75E1A3A1-851F-BB41-DAB8-E35A550A7220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CB195B3F-6D64-5BD4-0B1F-27212A1C1A0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3">
            <a:extLst>
              <a:ext uri="{FF2B5EF4-FFF2-40B4-BE49-F238E27FC236}">
                <a16:creationId xmlns:a16="http://schemas.microsoft.com/office/drawing/2014/main" id="{04BC2742-A355-4148-895C-AA56F17466AC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312CF02E-AE59-4BFF-A703-2DA5C9DFB5DE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50697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B1C91-0D83-4C2B-B316-66A06BE2D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F9CCC8-EF0B-48DC-B73F-302E70ABF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1BEF26-76E1-4E07-8601-5012306C6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24923-A3BB-4224-918D-7EFA577E2091}" type="datetimeFigureOut">
              <a:rPr lang="en-US" smtClean="0"/>
              <a:t>7/21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F5254A-454D-4714-8056-D73DCFEB09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EAE8FB-1AB7-4A51-A7E1-97A5FAEFA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23B9C-EBE3-4515-8611-DBDBEE3C57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48098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126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4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/>
        </p:nvSpPr>
        <p:spPr>
          <a:xfrm rot="16200000">
            <a:off x="9486901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1838408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1" y="1800000"/>
            <a:ext cx="11232001" cy="4237200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 dirty="0"/>
              <a:t>One line Subtitle (optional)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1" y="6375540"/>
            <a:ext cx="11226365" cy="208579"/>
          </a:xfrm>
        </p:spPr>
        <p:txBody>
          <a:bodyPr anchor="t">
            <a:noAutofit/>
          </a:bodyPr>
          <a:lstStyle>
            <a:lvl1pPr>
              <a:defRPr sz="2000" b="0" i="0">
                <a:solidFill>
                  <a:srgbClr val="FF0000"/>
                </a:solidFill>
                <a:latin typeface="+mn-lt"/>
              </a:defRPr>
            </a:lvl1pPr>
          </a:lstStyle>
          <a:p>
            <a:pPr lvl="0"/>
            <a:r>
              <a:rPr lang="en-GB" noProof="0" dirty="0"/>
              <a:t>DRAFT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58033944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two columns" type="twoColTx" preserve="1">
  <p:cSld name="Title and two columns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8"/>
          <p:cNvSpPr txBox="1">
            <a:spLocks noGrp="1"/>
          </p:cNvSpPr>
          <p:nvPr>
            <p:ph type="title"/>
          </p:nvPr>
        </p:nvSpPr>
        <p:spPr>
          <a:xfrm>
            <a:off x="612633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Roboto Light"/>
              <a:buNone/>
              <a:defRPr b="0" i="0">
                <a:latin typeface="Arial" panose="020B0604020202020204" pitchFamily="34" charset="0"/>
                <a:ea typeface="Roboto Light"/>
                <a:cs typeface="Arial" panose="020B0604020202020204" pitchFamily="34" charset="0"/>
                <a:sym typeface="Roboto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15" name="Google Shape;15;p18"/>
          <p:cNvSpPr txBox="1">
            <a:spLocks noGrp="1"/>
          </p:cNvSpPr>
          <p:nvPr>
            <p:ph type="body" idx="1"/>
          </p:nvPr>
        </p:nvSpPr>
        <p:spPr>
          <a:xfrm>
            <a:off x="612633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616" lvl="0" indent="-423344" algn="l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B4663"/>
              </a:buClr>
              <a:buSzPts val="1400"/>
              <a:buFont typeface="Roboto Medium"/>
              <a:buChar char="●"/>
              <a:defRPr sz="1867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marL="1219231" lvl="1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marL="1828845" lvl="2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marL="2438461" lvl="3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marL="3048076" lvl="4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marL="3657692" lvl="5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marL="4267307" lvl="6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marL="4876922" lvl="7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marL="5486538" lvl="8" indent="-406410" algn="l">
              <a:lnSpc>
                <a:spcPct val="125000"/>
              </a:lnSpc>
              <a:spcBef>
                <a:spcPts val="2133"/>
              </a:spcBef>
              <a:spcAft>
                <a:spcPts val="2133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Google Shape;16;p18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616" lvl="0" indent="-423344" algn="l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B4663"/>
              </a:buClr>
              <a:buSzPts val="1400"/>
              <a:buFont typeface="Roboto Medium"/>
              <a:buChar char="●"/>
              <a:defRPr sz="1867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marL="1219231" lvl="1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marL="1828845" lvl="2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marL="2438461" lvl="3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marL="3048076" lvl="4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marL="3657692" lvl="5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marL="4267307" lvl="6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marL="4876922" lvl="7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marL="5486538" lvl="8" indent="-406410" algn="l">
              <a:lnSpc>
                <a:spcPct val="125000"/>
              </a:lnSpc>
              <a:spcBef>
                <a:spcPts val="2133"/>
              </a:spcBef>
              <a:spcAft>
                <a:spcPts val="2133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Google Shape;17;p1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Roboto Light"/>
                <a:cs typeface="Arial" panose="020B0604020202020204" pitchFamily="34" charset="0"/>
                <a:sym typeface="Roboto Ligh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 dirty="0"/>
          </a:p>
        </p:txBody>
      </p:sp>
    </p:spTree>
    <p:extLst>
      <p:ext uri="{BB962C8B-B14F-4D97-AF65-F5344CB8AC3E}">
        <p14:creationId xmlns:p14="http://schemas.microsoft.com/office/powerpoint/2010/main" val="426793062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_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1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0A75B8BC-6ADC-BC40-8446-A30BADE3E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8048612" cy="537986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7354E78C-9ECD-4348-AC32-5470CF79DB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97A7AC-0BD6-5A4F-BCBF-85A20F352B9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12D4D8F-899D-B346-BB13-725965F80D20}"/>
              </a:ext>
            </a:extLst>
          </p:cNvPr>
          <p:cNvSpPr/>
          <p:nvPr/>
        </p:nvSpPr>
        <p:spPr bwMode="white">
          <a:xfrm>
            <a:off x="0" y="6739467"/>
            <a:ext cx="12192000" cy="11853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13327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_Dark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5901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3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</a:t>
            </a:r>
            <a:r>
              <a:rPr lang="en-US" sz="900">
                <a:solidFill>
                  <a:schemeClr val="bg1"/>
                </a:solidFill>
              </a:rPr>
              <a:t>COVID-19 Impact</a:t>
            </a:r>
            <a:endParaRPr lang="en-GB" sz="900" b="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err="1"/>
              <a:t>Title</a:t>
            </a:r>
            <a:r>
              <a:rPr lang="fr-FR" dirty="0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7" y="5926943"/>
            <a:ext cx="11463417" cy="203133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7" indent="0">
              <a:buNone/>
              <a:defRPr/>
            </a:lvl2pPr>
            <a:lvl3pPr marL="542952" indent="0">
              <a:buNone/>
              <a:defRPr/>
            </a:lvl3pPr>
            <a:lvl4pPr marL="758863" indent="0">
              <a:buNone/>
              <a:defRPr/>
            </a:lvl4pPr>
            <a:lvl5pPr marL="1033515" indent="0">
              <a:buNone/>
              <a:defRPr/>
            </a:lvl5pPr>
          </a:lstStyle>
          <a:p>
            <a:pPr lvl="0"/>
            <a:r>
              <a:rPr lang="en-GB" dirty="0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9" y="1368597"/>
            <a:ext cx="2170448" cy="323165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ubtitle of the slide</a:t>
            </a:r>
          </a:p>
        </p:txBody>
      </p:sp>
      <p:pic>
        <p:nvPicPr>
          <p:cNvPr id="18" name="Picture 6">
            <a:extLst>
              <a:ext uri="{FF2B5EF4-FFF2-40B4-BE49-F238E27FC236}">
                <a16:creationId xmlns:a16="http://schemas.microsoft.com/office/drawing/2014/main" id="{FFAF5E71-1C03-419E-834C-08A9BBB114F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alphaModFix amt="20000"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27" t="67247" r="5832" b="5946"/>
          <a:stretch/>
        </p:blipFill>
        <p:spPr bwMode="auto">
          <a:xfrm rot="7895811">
            <a:off x="-853024" y="3821916"/>
            <a:ext cx="1868025" cy="1818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>
            <a:extLst>
              <a:ext uri="{FF2B5EF4-FFF2-40B4-BE49-F238E27FC236}">
                <a16:creationId xmlns:a16="http://schemas.microsoft.com/office/drawing/2014/main" id="{A5A7B86A-63A2-4479-B3CD-A215AFB65AA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>
            <a:alphaModFix amt="20000"/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27" t="67247" r="5832" b="5946"/>
          <a:stretch/>
        </p:blipFill>
        <p:spPr bwMode="auto">
          <a:xfrm rot="7895811">
            <a:off x="11171653" y="1936110"/>
            <a:ext cx="1868025" cy="1818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bject 134">
            <a:extLst>
              <a:ext uri="{FF2B5EF4-FFF2-40B4-BE49-F238E27FC236}">
                <a16:creationId xmlns:a16="http://schemas.microsoft.com/office/drawing/2014/main" id="{F80078AF-6128-43B8-B16E-CE1B601E8F0F}"/>
              </a:ext>
            </a:extLst>
          </p:cNvPr>
          <p:cNvSpPr/>
          <p:nvPr/>
        </p:nvSpPr>
        <p:spPr>
          <a:xfrm>
            <a:off x="0" y="0"/>
            <a:ext cx="219456" cy="1088136"/>
          </a:xfrm>
          <a:custGeom>
            <a:avLst/>
            <a:gdLst/>
            <a:ahLst/>
            <a:cxnLst/>
            <a:rect l="l" t="t" r="r" b="b"/>
            <a:pathLst>
              <a:path w="216408" h="1088136">
                <a:moveTo>
                  <a:pt x="0" y="1088136"/>
                </a:moveTo>
                <a:lnTo>
                  <a:pt x="216408" y="1088136"/>
                </a:lnTo>
                <a:lnTo>
                  <a:pt x="216408" y="0"/>
                </a:lnTo>
                <a:lnTo>
                  <a:pt x="0" y="0"/>
                </a:lnTo>
                <a:lnTo>
                  <a:pt x="0" y="1088136"/>
                </a:lnTo>
                <a:close/>
              </a:path>
            </a:pathLst>
          </a:custGeom>
          <a:solidFill>
            <a:srgbClr val="009D9C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0" name="object 135">
            <a:extLst>
              <a:ext uri="{FF2B5EF4-FFF2-40B4-BE49-F238E27FC236}">
                <a16:creationId xmlns:a16="http://schemas.microsoft.com/office/drawing/2014/main" id="{9A973497-284A-4BD8-B4AA-C2E6A7251402}"/>
              </a:ext>
            </a:extLst>
          </p:cNvPr>
          <p:cNvSpPr/>
          <p:nvPr/>
        </p:nvSpPr>
        <p:spPr>
          <a:xfrm>
            <a:off x="3048" y="272797"/>
            <a:ext cx="216408" cy="815339"/>
          </a:xfrm>
          <a:custGeom>
            <a:avLst/>
            <a:gdLst/>
            <a:ahLst/>
            <a:cxnLst/>
            <a:rect l="l" t="t" r="r" b="b"/>
            <a:pathLst>
              <a:path w="216408" h="815339">
                <a:moveTo>
                  <a:pt x="0" y="815339"/>
                </a:moveTo>
                <a:lnTo>
                  <a:pt x="216408" y="815339"/>
                </a:lnTo>
                <a:lnTo>
                  <a:pt x="216408" y="0"/>
                </a:lnTo>
                <a:lnTo>
                  <a:pt x="0" y="0"/>
                </a:lnTo>
                <a:lnTo>
                  <a:pt x="0" y="815339"/>
                </a:lnTo>
                <a:close/>
              </a:path>
            </a:pathLst>
          </a:custGeom>
          <a:solidFill>
            <a:srgbClr val="405A9C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</p:spTree>
    <p:extLst>
      <p:ext uri="{BB962C8B-B14F-4D97-AF65-F5344CB8AC3E}">
        <p14:creationId xmlns:p14="http://schemas.microsoft.com/office/powerpoint/2010/main" val="1248966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38C433-B876-4303-AA4F-BF117076C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24923-A3BB-4224-918D-7EFA577E2091}" type="datetimeFigureOut">
              <a:rPr lang="en-US" smtClean="0"/>
              <a:t>7/21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C105DA-8DA0-430B-95F5-3E5E2D647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F4CCB6-5983-434B-8569-7A4E8DFC4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23B9C-EBE3-4515-8611-DBDBEE3C57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376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">
            <a:extLst>
              <a:ext uri="{FF2B5EF4-FFF2-40B4-BE49-F238E27FC236}">
                <a16:creationId xmlns:a16="http://schemas.microsoft.com/office/drawing/2014/main" id="{E6EF86D9-21F0-B1D3-2DCB-0E073A3EA68E}"/>
              </a:ext>
            </a:extLst>
          </p:cNvPr>
          <p:cNvGrpSpPr>
            <a:grpSpLocks noChangeAspect="1"/>
          </p:cNvGrpSpPr>
          <p:nvPr/>
        </p:nvGrpSpPr>
        <p:grpSpPr>
          <a:xfrm>
            <a:off x="9018827" y="3617598"/>
            <a:ext cx="3881553" cy="3881553"/>
            <a:chOff x="0" y="0"/>
            <a:chExt cx="6350000" cy="6350000"/>
          </a:xfrm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815721DF-CE49-1528-21D3-75ADA5689DAC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74AEF1BC-A3D0-8FBA-B1CD-F9CACE4B5804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EEF05428-CA87-64CB-3D38-205817364CA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re 1">
            <a:extLst>
              <a:ext uri="{FF2B5EF4-FFF2-40B4-BE49-F238E27FC236}">
                <a16:creationId xmlns:a16="http://schemas.microsoft.com/office/drawing/2014/main" id="{10CFD663-554B-AEA0-227A-D0020BED4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356A9C79-E0DA-2C04-F91A-A03A612D51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73266090"/>
      </p:ext>
    </p:extLst>
  </p:cSld>
  <p:clrMapOvr>
    <a:masterClrMapping/>
  </p:clrMapOvr>
  <p:hf sldNum="0"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4E39D-7B07-46D3-86FB-22D106C0F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6F0851-29CE-4F95-95A9-77BF4E70D6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45C31C-9709-4820-8567-C0340C2458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56122F-CB12-41CB-B5B5-4D2C625A72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24923-A3BB-4224-918D-7EFA577E2091}" type="datetimeFigureOut">
              <a:rPr lang="en-US" smtClean="0"/>
              <a:t>7/21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ECFB34-6450-46EE-A397-B1AD4E620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474B5F-8E52-44FD-8D74-C2A95A4BE1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23B9C-EBE3-4515-8611-DBDBEE3C57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2744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3650337-9033-FF5E-51B6-2303826B0E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8001" y="1244600"/>
            <a:ext cx="5435600" cy="49455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 dirty="0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9440C862-784F-E2C2-886F-26668F2D732A}"/>
              </a:ext>
            </a:extLst>
          </p:cNvPr>
          <p:cNvGrpSpPr/>
          <p:nvPr/>
        </p:nvGrpSpPr>
        <p:grpSpPr>
          <a:xfrm rot="3608892">
            <a:off x="8774233" y="6100994"/>
            <a:ext cx="717435" cy="968494"/>
            <a:chOff x="9824704" y="-2020392"/>
            <a:chExt cx="9270979" cy="12307392"/>
          </a:xfrm>
        </p:grpSpPr>
        <p:grpSp>
          <p:nvGrpSpPr>
            <p:cNvPr id="8" name="Group 3">
              <a:extLst>
                <a:ext uri="{FF2B5EF4-FFF2-40B4-BE49-F238E27FC236}">
                  <a16:creationId xmlns:a16="http://schemas.microsoft.com/office/drawing/2014/main" id="{FC664A38-FFB6-95B8-4D0B-5594950345E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17" name="Freeform 4">
                <a:extLst>
                  <a:ext uri="{FF2B5EF4-FFF2-40B4-BE49-F238E27FC236}">
                    <a16:creationId xmlns:a16="http://schemas.microsoft.com/office/drawing/2014/main" id="{FC65CC07-FA89-645E-05F6-4682617E5751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9" name="Group 5">
              <a:extLst>
                <a:ext uri="{FF2B5EF4-FFF2-40B4-BE49-F238E27FC236}">
                  <a16:creationId xmlns:a16="http://schemas.microsoft.com/office/drawing/2014/main" id="{4FF1A394-D2CA-1AAB-EC81-47E59C1A54F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C620384C-BBBF-F76F-3BE5-7B143F4229FF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0" name="Group 7">
              <a:extLst>
                <a:ext uri="{FF2B5EF4-FFF2-40B4-BE49-F238E27FC236}">
                  <a16:creationId xmlns:a16="http://schemas.microsoft.com/office/drawing/2014/main" id="{11FE0FAC-BB70-281A-04F9-8D183F02357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C0773B33-7935-36AE-5DDD-89F1F8C9CC87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1" name="Group 9">
              <a:extLst>
                <a:ext uri="{FF2B5EF4-FFF2-40B4-BE49-F238E27FC236}">
                  <a16:creationId xmlns:a16="http://schemas.microsoft.com/office/drawing/2014/main" id="{97A04955-0EB6-236A-9A8A-193FBDA9C7F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E8BCB372-1D58-5FC9-1CCB-13FC7E8EC6B9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C6D9524-CEAA-B1FE-A06D-7205621E199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2D6273D6-E45E-8965-36FC-D331666B69E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1457F6D-D459-E725-646D-C9AFE4BED8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8522" y="124460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10198595-669E-5CD1-643E-C781B091C6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158999"/>
            <a:ext cx="5183717" cy="403119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D6AC2CD9-5DFE-0E63-86C2-7DCC72DF8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7D738DFE-3F42-C4F4-034D-2428872458F3}"/>
              </a:ext>
            </a:extLst>
          </p:cNvPr>
          <p:cNvSpPr txBox="1"/>
          <p:nvPr/>
        </p:nvSpPr>
        <p:spPr>
          <a:xfrm>
            <a:off x="9702800" y="6535579"/>
            <a:ext cx="27940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 dirty="0"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09AEB984-B2B6-9D61-4AFB-DAD2DB70C812}"/>
              </a:ext>
            </a:extLst>
          </p:cNvPr>
          <p:cNvCxnSpPr>
            <a:cxnSpLocks/>
          </p:cNvCxnSpPr>
          <p:nvPr/>
        </p:nvCxnSpPr>
        <p:spPr>
          <a:xfrm flipV="1">
            <a:off x="8537452" y="6477001"/>
            <a:ext cx="3654549" cy="158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8784446"/>
      </p:ext>
    </p:extLst>
  </p:cSld>
  <p:clrMapOvr>
    <a:masterClrMapping/>
  </p:clrMapOvr>
  <p:hf sldNum="0"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9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49.xml"/><Relationship Id="rId34" Type="http://schemas.openxmlformats.org/officeDocument/2006/relationships/slideLayout" Target="../slideLayouts/slideLayout62.xml"/><Relationship Id="rId42" Type="http://schemas.openxmlformats.org/officeDocument/2006/relationships/slideLayout" Target="../slideLayouts/slideLayout70.xml"/><Relationship Id="rId47" Type="http://schemas.openxmlformats.org/officeDocument/2006/relationships/slideLayout" Target="../slideLayouts/slideLayout75.xml"/><Relationship Id="rId50" Type="http://schemas.openxmlformats.org/officeDocument/2006/relationships/slideLayout" Target="../slideLayouts/slideLayout78.xml"/><Relationship Id="rId7" Type="http://schemas.openxmlformats.org/officeDocument/2006/relationships/slideLayout" Target="../slideLayouts/slideLayout35.xml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9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slideLayout" Target="../slideLayouts/slideLayout60.xml"/><Relationship Id="rId37" Type="http://schemas.openxmlformats.org/officeDocument/2006/relationships/slideLayout" Target="../slideLayouts/slideLayout65.xml"/><Relationship Id="rId40" Type="http://schemas.openxmlformats.org/officeDocument/2006/relationships/slideLayout" Target="../slideLayouts/slideLayout68.xml"/><Relationship Id="rId45" Type="http://schemas.openxmlformats.org/officeDocument/2006/relationships/slideLayout" Target="../slideLayouts/slideLayout73.xml"/><Relationship Id="rId53" Type="http://schemas.openxmlformats.org/officeDocument/2006/relationships/theme" Target="../theme/theme2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59.xml"/><Relationship Id="rId44" Type="http://schemas.openxmlformats.org/officeDocument/2006/relationships/slideLayout" Target="../slideLayouts/slideLayout72.xml"/><Relationship Id="rId52" Type="http://schemas.openxmlformats.org/officeDocument/2006/relationships/slideLayout" Target="../slideLayouts/slideLayout80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Relationship Id="rId35" Type="http://schemas.openxmlformats.org/officeDocument/2006/relationships/slideLayout" Target="../slideLayouts/slideLayout63.xml"/><Relationship Id="rId43" Type="http://schemas.openxmlformats.org/officeDocument/2006/relationships/slideLayout" Target="../slideLayouts/slideLayout71.xml"/><Relationship Id="rId48" Type="http://schemas.openxmlformats.org/officeDocument/2006/relationships/slideLayout" Target="../slideLayouts/slideLayout76.xml"/><Relationship Id="rId8" Type="http://schemas.openxmlformats.org/officeDocument/2006/relationships/slideLayout" Target="../slideLayouts/slideLayout36.xml"/><Relationship Id="rId51" Type="http://schemas.openxmlformats.org/officeDocument/2006/relationships/slideLayout" Target="../slideLayouts/slideLayout79.xml"/><Relationship Id="rId3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slideLayout" Target="../slideLayouts/slideLayout61.xml"/><Relationship Id="rId38" Type="http://schemas.openxmlformats.org/officeDocument/2006/relationships/slideLayout" Target="../slideLayouts/slideLayout66.xml"/><Relationship Id="rId4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48.xml"/><Relationship Id="rId41" Type="http://schemas.openxmlformats.org/officeDocument/2006/relationships/slideLayout" Target="../slideLayouts/slideLayout69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36" Type="http://schemas.openxmlformats.org/officeDocument/2006/relationships/slideLayout" Target="../slideLayouts/slideLayout64.xml"/><Relationship Id="rId49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988244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697" r:id="rId3"/>
    <p:sldLayoutId id="2147483761" r:id="rId4"/>
    <p:sldLayoutId id="2147483762" r:id="rId5"/>
    <p:sldLayoutId id="2147483765" r:id="rId6"/>
    <p:sldLayoutId id="2147483766" r:id="rId7"/>
    <p:sldLayoutId id="2147483767" r:id="rId8"/>
    <p:sldLayoutId id="2147483768" r:id="rId9"/>
    <p:sldLayoutId id="2147483769" r:id="rId10"/>
    <p:sldLayoutId id="2147483770" r:id="rId11"/>
    <p:sldLayoutId id="2147483771" r:id="rId12"/>
    <p:sldLayoutId id="2147483760" r:id="rId13"/>
    <p:sldLayoutId id="2147483764" r:id="rId14"/>
    <p:sldLayoutId id="2147483763" r:id="rId15"/>
    <p:sldLayoutId id="2147483710" r:id="rId16"/>
    <p:sldLayoutId id="2147483711" r:id="rId17"/>
    <p:sldLayoutId id="2147483712" r:id="rId18"/>
    <p:sldLayoutId id="2147483713" r:id="rId19"/>
    <p:sldLayoutId id="2147483714" r:id="rId20"/>
    <p:sldLayoutId id="2147483715" r:id="rId21"/>
    <p:sldLayoutId id="2147483716" r:id="rId22"/>
    <p:sldLayoutId id="2147483717" r:id="rId23"/>
    <p:sldLayoutId id="2147483718" r:id="rId24"/>
    <p:sldLayoutId id="2147483719" r:id="rId25"/>
    <p:sldLayoutId id="2147483720" r:id="rId26"/>
    <p:sldLayoutId id="2147483721" r:id="rId27"/>
    <p:sldLayoutId id="2147483722" r:id="rId28"/>
  </p:sldLayoutIdLst>
  <p:hf sldNum="0" hdr="0" ftr="0" dt="0"/>
  <p:txStyles>
    <p:titleStyle>
      <a:lvl1pPr algn="l" defTabSz="60963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152408" indent="-152408" algn="l" defTabSz="60963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724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707" r:id="rId12"/>
    <p:sldLayoutId id="2147483698" r:id="rId13"/>
    <p:sldLayoutId id="2147483699" r:id="rId14"/>
    <p:sldLayoutId id="2147483709" r:id="rId15"/>
    <p:sldLayoutId id="2147483708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25" r:id="rId24"/>
    <p:sldLayoutId id="2147483726" r:id="rId25"/>
    <p:sldLayoutId id="2147483727" r:id="rId26"/>
    <p:sldLayoutId id="2147483728" r:id="rId27"/>
    <p:sldLayoutId id="2147483729" r:id="rId28"/>
    <p:sldLayoutId id="2147483730" r:id="rId29"/>
    <p:sldLayoutId id="2147483731" r:id="rId30"/>
    <p:sldLayoutId id="2147483732" r:id="rId31"/>
    <p:sldLayoutId id="2147483754" r:id="rId32"/>
    <p:sldLayoutId id="2147483755" r:id="rId33"/>
    <p:sldLayoutId id="2147483756" r:id="rId34"/>
    <p:sldLayoutId id="2147483736" r:id="rId35"/>
    <p:sldLayoutId id="2147483737" r:id="rId36"/>
    <p:sldLayoutId id="2147483738" r:id="rId37"/>
    <p:sldLayoutId id="2147483739" r:id="rId38"/>
    <p:sldLayoutId id="2147483740" r:id="rId39"/>
    <p:sldLayoutId id="2147483741" r:id="rId40"/>
    <p:sldLayoutId id="2147483742" r:id="rId41"/>
    <p:sldLayoutId id="2147483743" r:id="rId42"/>
    <p:sldLayoutId id="2147483744" r:id="rId43"/>
    <p:sldLayoutId id="2147483745" r:id="rId44"/>
    <p:sldLayoutId id="2147483746" r:id="rId45"/>
    <p:sldLayoutId id="2147483747" r:id="rId46"/>
    <p:sldLayoutId id="2147483748" r:id="rId47"/>
    <p:sldLayoutId id="2147483749" r:id="rId48"/>
    <p:sldLayoutId id="2147483750" r:id="rId49"/>
    <p:sldLayoutId id="2147483751" r:id="rId50"/>
    <p:sldLayoutId id="2147483752" r:id="rId51"/>
    <p:sldLayoutId id="2147483753" r:id="rId52"/>
  </p:sldLayoutIdLst>
  <p:txStyles>
    <p:titleStyle>
      <a:lvl1pPr algn="l" defTabSz="60963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152408" indent="-152408" algn="l" defTabSz="60963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g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0BE8E04-F4A3-4932-48E0-7E66BE2A86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865" y="685801"/>
            <a:ext cx="8571795" cy="1326091"/>
          </a:xfrm>
        </p:spPr>
        <p:txBody>
          <a:bodyPr/>
          <a:lstStyle/>
          <a:p>
            <a:r>
              <a:rPr lang="en-US" sz="7202" dirty="0"/>
              <a:t>Comprehensive training </a:t>
            </a:r>
            <a:br>
              <a:rPr lang="en-US" sz="7202" dirty="0"/>
            </a:b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86E402D-0DC9-8B90-7157-4779A38F1C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64" y="2946400"/>
            <a:ext cx="7771736" cy="965200"/>
          </a:xfrm>
        </p:spPr>
        <p:txBody>
          <a:bodyPr/>
          <a:lstStyle/>
          <a:p>
            <a:pPr marL="0" indent="0">
              <a:buNone/>
            </a:pPr>
            <a:r>
              <a:rPr lang="en-US" sz="3200" spc="456" dirty="0"/>
              <a:t>28 June – 21 July 2022</a:t>
            </a:r>
          </a:p>
          <a:p>
            <a:endParaRPr lang="fr-FR" dirty="0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12B1CF14-AA18-D734-C359-17E3762DA1D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232" dirty="0"/>
              <a:t>HOSTED BY GAVI, WHO, UNICEF &amp; US CDC</a:t>
            </a:r>
          </a:p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499558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7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6" name="Google Shape;736;p19"/>
          <p:cNvPicPr preferRelativeResize="0"/>
          <p:nvPr/>
        </p:nvPicPr>
        <p:blipFill rotWithShape="1">
          <a:blip r:embed="rId3">
            <a:alphaModFix/>
          </a:blip>
          <a:srcRect l="20493" t="36895" r="17759" b="15763"/>
          <a:stretch/>
        </p:blipFill>
        <p:spPr>
          <a:xfrm>
            <a:off x="7648758" y="1820749"/>
            <a:ext cx="3657463" cy="4200910"/>
          </a:xfrm>
          <a:prstGeom prst="rect">
            <a:avLst/>
          </a:prstGeom>
          <a:noFill/>
          <a:ln>
            <a:noFill/>
          </a:ln>
        </p:spPr>
      </p:pic>
      <p:sp>
        <p:nvSpPr>
          <p:cNvPr id="737" name="Google Shape;737;p19"/>
          <p:cNvSpPr txBox="1">
            <a:spLocks noGrp="1"/>
          </p:cNvSpPr>
          <p:nvPr>
            <p:ph type="title"/>
          </p:nvPr>
        </p:nvSpPr>
        <p:spPr>
          <a:xfrm>
            <a:off x="508000" y="623293"/>
            <a:ext cx="10515600" cy="777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0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3. </a:t>
            </a:r>
            <a:r>
              <a:rPr lang="en-US" sz="4000" dirty="0">
                <a:solidFill>
                  <a:srgbClr val="0B81D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Question Your Assumptions </a:t>
            </a:r>
            <a:r>
              <a:rPr lang="en-US" sz="40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bout the Population You’re Serving</a:t>
            </a:r>
            <a:endParaRPr dirty="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738" name="Google Shape;738;p19"/>
          <p:cNvSpPr txBox="1">
            <a:spLocks noGrp="1"/>
          </p:cNvSpPr>
          <p:nvPr>
            <p:ph sz="half" idx="1"/>
          </p:nvPr>
        </p:nvSpPr>
        <p:spPr>
          <a:xfrm>
            <a:off x="508000" y="1820749"/>
            <a:ext cx="6829502" cy="4780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sz="2200" dirty="0">
                <a:latin typeface="Poppins" panose="00000500000000000000" pitchFamily="2" charset="0"/>
                <a:cs typeface="Poppins" panose="00000500000000000000" pitchFamily="2" charset="0"/>
              </a:rPr>
              <a:t>Lead with empathy, ask questions if you do not understand, and ask for gut-checks from trusted colleagues.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200"/>
              <a:buNone/>
            </a:pPr>
            <a:endParaRPr sz="22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sz="2200" dirty="0">
                <a:latin typeface="Poppins" panose="00000500000000000000" pitchFamily="2" charset="0"/>
                <a:cs typeface="Poppins" panose="00000500000000000000" pitchFamily="2" charset="0"/>
              </a:rPr>
              <a:t>A single data point is an anecdote and useless for public health programming. Collect, analyze and act on more high-quality data (when possible).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200"/>
              <a:buNone/>
            </a:pPr>
            <a:endParaRPr sz="22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sz="2200" dirty="0">
                <a:latin typeface="Poppins" panose="00000500000000000000" pitchFamily="2" charset="0"/>
                <a:cs typeface="Poppins" panose="00000500000000000000" pitchFamily="2" charset="0"/>
              </a:rPr>
              <a:t>Be conservative in language for observations and recommendations. 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200"/>
              <a:buNone/>
            </a:pPr>
            <a:endParaRPr sz="22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200"/>
              <a:buNone/>
            </a:pPr>
            <a:r>
              <a:rPr lang="en-US" sz="2200" dirty="0">
                <a:latin typeface="Poppins" panose="00000500000000000000" pitchFamily="2" charset="0"/>
                <a:cs typeface="Poppins" panose="00000500000000000000" pitchFamily="2" charset="0"/>
              </a:rPr>
              <a:t>Always have a “limitations” section to any report or presentation.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7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3" name="Google Shape;743;p20" descr="man in gray dress shirt and blue denim jeans walking on sidewalk during daytime"/>
          <p:cNvPicPr preferRelativeResize="0"/>
          <p:nvPr/>
        </p:nvPicPr>
        <p:blipFill rotWithShape="1">
          <a:blip r:embed="rId3">
            <a:alphaModFix/>
          </a:blip>
          <a:srcRect l="2105" t="2106" b="23383"/>
          <a:stretch/>
        </p:blipFill>
        <p:spPr>
          <a:xfrm>
            <a:off x="6353500" y="1785939"/>
            <a:ext cx="5098858" cy="2879678"/>
          </a:xfrm>
          <a:prstGeom prst="rect">
            <a:avLst/>
          </a:prstGeom>
          <a:noFill/>
          <a:ln>
            <a:noFill/>
          </a:ln>
        </p:spPr>
      </p:pic>
      <p:sp>
        <p:nvSpPr>
          <p:cNvPr id="744" name="Google Shape;744;p20"/>
          <p:cNvSpPr txBox="1">
            <a:spLocks noGrp="1"/>
          </p:cNvSpPr>
          <p:nvPr>
            <p:ph type="title"/>
          </p:nvPr>
        </p:nvSpPr>
        <p:spPr>
          <a:xfrm>
            <a:off x="508000" y="1008064"/>
            <a:ext cx="10515600" cy="777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81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4. Give Everyone the </a:t>
            </a:r>
            <a:r>
              <a:rPr lang="en-US" dirty="0">
                <a:solidFill>
                  <a:srgbClr val="0B81D5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enefit of the Doubt</a:t>
            </a:r>
            <a:endParaRPr dirty="0">
              <a:solidFill>
                <a:srgbClr val="0B81D5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745" name="Google Shape;745;p20"/>
          <p:cNvSpPr txBox="1">
            <a:spLocks noGrp="1"/>
          </p:cNvSpPr>
          <p:nvPr>
            <p:ph sz="half" idx="1"/>
          </p:nvPr>
        </p:nvSpPr>
        <p:spPr>
          <a:xfrm>
            <a:off x="508000" y="1886435"/>
            <a:ext cx="5848195" cy="4780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</a:pPr>
            <a:r>
              <a:rPr lang="en-US" sz="2400" dirty="0">
                <a:solidFill>
                  <a:srgbClr val="08080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The pandemic is rough on everyone. Extreme emotional reactions, burnout, inability to set work/life boundaries and miscommunications (real or otherwise) are common. </a:t>
            </a:r>
            <a:endParaRPr lang="en-US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</a:pPr>
            <a:endParaRPr sz="2400" dirty="0">
              <a:solidFill>
                <a:srgbClr val="080808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SzPts val="2400"/>
              <a:buNone/>
            </a:pPr>
            <a:r>
              <a:rPr lang="en-US" sz="2400" dirty="0">
                <a:solidFill>
                  <a:srgbClr val="080808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f you establish common purpose and demonstrate how you can and will help your colleagues, it goes a long way to alleviate stressors. Tell your manager when you need help.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21"/>
          <p:cNvSpPr txBox="1">
            <a:spLocks noGrp="1"/>
          </p:cNvSpPr>
          <p:nvPr>
            <p:ph type="title"/>
          </p:nvPr>
        </p:nvSpPr>
        <p:spPr>
          <a:xfrm>
            <a:off x="434510" y="980808"/>
            <a:ext cx="10515600" cy="777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81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44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5. </a:t>
            </a:r>
            <a:r>
              <a:rPr lang="en-US" sz="4400" dirty="0">
                <a:solidFill>
                  <a:srgbClr val="0070C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Be Concrete and Realistic </a:t>
            </a:r>
            <a:r>
              <a:rPr lang="en-US" sz="4400" dirty="0">
                <a:solidFill>
                  <a:schemeClr val="tx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 What Demand Strategies to Pursue</a:t>
            </a:r>
            <a:endParaRPr sz="4400" dirty="0">
              <a:solidFill>
                <a:schemeClr val="tx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751" name="Google Shape;751;p21"/>
          <p:cNvSpPr txBox="1">
            <a:spLocks noGrp="1"/>
          </p:cNvSpPr>
          <p:nvPr>
            <p:ph sz="half" idx="1"/>
          </p:nvPr>
        </p:nvSpPr>
        <p:spPr>
          <a:xfrm>
            <a:off x="436310" y="1888832"/>
            <a:ext cx="6518505" cy="444595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97487"/>
              <a:buNone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The vaccine demand strategies you develop are a reflection of how well (or little) you understand programmatic needs. Your manager can help you understand them.</a:t>
            </a:r>
          </a:p>
          <a:p>
            <a:pPr marL="0" lvl="0" indent="0" algn="l" rtl="0">
              <a:lnSpc>
                <a:spcPct val="100000"/>
              </a:lnSpc>
              <a:spcBef>
                <a:spcPts val="493"/>
              </a:spcBef>
              <a:spcAft>
                <a:spcPts val="0"/>
              </a:spcAft>
              <a:buSzPct val="100000"/>
              <a:buNone/>
            </a:pPr>
            <a:endParaRPr sz="20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lnSpc>
                <a:spcPct val="100000"/>
              </a:lnSpc>
              <a:spcBef>
                <a:spcPts val="481"/>
              </a:spcBef>
              <a:spcAft>
                <a:spcPts val="0"/>
              </a:spcAft>
              <a:buSzPct val="97487"/>
              <a:buNone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Document what you’re doing, provide standard operating procedures (SOPs), give program staff the insights they need to make their jobs easier. </a:t>
            </a:r>
            <a:endParaRPr sz="20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lnSpc>
                <a:spcPct val="100000"/>
              </a:lnSpc>
              <a:spcBef>
                <a:spcPts val="493"/>
              </a:spcBef>
              <a:spcAft>
                <a:spcPts val="0"/>
              </a:spcAft>
              <a:buSzPct val="100000"/>
              <a:buNone/>
            </a:pPr>
            <a:endParaRPr sz="2000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lnSpc>
                <a:spcPct val="100000"/>
              </a:lnSpc>
              <a:spcBef>
                <a:spcPts val="481"/>
              </a:spcBef>
              <a:spcAft>
                <a:spcPts val="0"/>
              </a:spcAft>
              <a:buSzPct val="97487"/>
              <a:buNone/>
            </a:pPr>
            <a:r>
              <a:rPr lang="en-US" sz="2000" dirty="0">
                <a:latin typeface="Poppins" panose="00000500000000000000" pitchFamily="2" charset="0"/>
                <a:cs typeface="Poppins" panose="00000500000000000000" pitchFamily="2" charset="0"/>
              </a:rPr>
              <a:t>Be creative in problem solving—because there will never be enough time, funds, or human resources to do the work needed, so help your team prioritize.</a:t>
            </a:r>
            <a:endParaRPr sz="20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752" name="Google Shape;752;p21" descr="Colorful strings being woven togehter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774328" y="1964251"/>
            <a:ext cx="4419601" cy="2928257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7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0" name="Google Shape;750;p21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81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Discussion (15 minutes)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751" name="Google Shape;751;p21"/>
          <p:cNvSpPr txBox="1">
            <a:spLocks noGrp="1"/>
          </p:cNvSpPr>
          <p:nvPr>
            <p:ph sz="half" idx="1"/>
          </p:nvPr>
        </p:nvSpPr>
        <p:spPr>
          <a:xfrm>
            <a:off x="5096106" y="1397002"/>
            <a:ext cx="5918201" cy="51893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ct val="97487"/>
              <a:buNone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You all have a lot of emergency, field and immunization experience. Now you can share it!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ct val="97487"/>
              <a:buNone/>
            </a:pPr>
            <a:endParaRPr lang="en-US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ct val="97487"/>
              <a:buNone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In </a:t>
            </a:r>
            <a:r>
              <a:rPr lang="en-US" dirty="0" err="1">
                <a:latin typeface="Poppins" panose="00000500000000000000" pitchFamily="2" charset="0"/>
                <a:cs typeface="Poppins" panose="00000500000000000000" pitchFamily="2" charset="0"/>
              </a:rPr>
              <a:t>Slido</a:t>
            </a: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, write down tips you have for one another on tackling the following common challenges:</a:t>
            </a: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SzPct val="97487"/>
              <a:buNone/>
            </a:pPr>
            <a:endParaRPr lang="en-US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514350" lvl="0" indent="-5143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97487"/>
              <a:buAutoNum type="arabicPeriod"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Ways to adapt to a new workplace quickly</a:t>
            </a:r>
          </a:p>
          <a:p>
            <a:pPr marL="514350" lvl="0" indent="-5143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97487"/>
              <a:buAutoNum type="arabicPeriod"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How to provide critical feedback to a colleague in a diplomatic way</a:t>
            </a:r>
          </a:p>
          <a:p>
            <a:pPr marL="514350" lvl="0" indent="-5143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97487"/>
              <a:buAutoNum type="arabicPeriod"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How to deal with conflict in the workplace</a:t>
            </a:r>
          </a:p>
          <a:p>
            <a:pPr marL="514350" lvl="0" indent="-5143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97487"/>
              <a:buAutoNum type="arabicPeriod"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How to care for your physical and mental health in stressful situations</a:t>
            </a:r>
          </a:p>
          <a:p>
            <a:pPr marL="514350" lvl="0" indent="-5143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ct val="97487"/>
              <a:buFont typeface="+mj-lt"/>
              <a:buAutoNum type="arabicPeriod"/>
            </a:pP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3" name="Picture 2" descr="Person writing on notebook">
            <a:extLst>
              <a:ext uri="{FF2B5EF4-FFF2-40B4-BE49-F238E27FC236}">
                <a16:creationId xmlns:a16="http://schemas.microsoft.com/office/drawing/2014/main" id="{4FD8F926-0120-4B5D-9E30-70F42747ACF3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6170" y="1586524"/>
            <a:ext cx="4191096" cy="2271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85840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0BE8E04-F4A3-4932-48E0-7E66BE2A86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865" y="685801"/>
            <a:ext cx="8571795" cy="1326091"/>
          </a:xfrm>
        </p:spPr>
        <p:txBody>
          <a:bodyPr>
            <a:normAutofit fontScale="90000"/>
          </a:bodyPr>
          <a:lstStyle/>
          <a:p>
            <a:r>
              <a:rPr lang="en-US" sz="7202" dirty="0"/>
              <a:t>Get deployed and get useful</a:t>
            </a:r>
            <a:endParaRPr lang="fr-FR" dirty="0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786E402D-0DC9-8B90-7157-4779A38F1C3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64" y="2946400"/>
            <a:ext cx="6885045" cy="1281151"/>
          </a:xfrm>
        </p:spPr>
        <p:txBody>
          <a:bodyPr lIns="91440" tIns="45720" rIns="91440" bIns="45720" anchor="t">
            <a:normAutofit fontScale="70000" lnSpcReduction="20000"/>
          </a:bodyPr>
          <a:lstStyle/>
          <a:p>
            <a:pPr marL="0" indent="0">
              <a:lnSpc>
                <a:spcPct val="120000"/>
              </a:lnSpc>
              <a:spcBef>
                <a:spcPts val="600"/>
              </a:spcBef>
              <a:buNone/>
            </a:pPr>
            <a:r>
              <a:rPr lang="en-US" sz="3200" spc="456" dirty="0"/>
              <a:t>Elisabeth Wilhelm, Health Communications Specialist, Global Immunization Division, US CDC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489466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6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1" name="Google Shape;681;p11" descr="aerial photography of pains"/>
          <p:cNvPicPr preferRelativeResize="0"/>
          <p:nvPr/>
        </p:nvPicPr>
        <p:blipFill rotWithShape="1">
          <a:blip r:embed="rId3">
            <a:alphaModFix/>
          </a:blip>
          <a:srcRect l="2942" r="2940" b="-1"/>
          <a:stretch/>
        </p:blipFill>
        <p:spPr>
          <a:xfrm>
            <a:off x="7234027" y="1903431"/>
            <a:ext cx="4449973" cy="3396409"/>
          </a:xfrm>
          <a:prstGeom prst="rect">
            <a:avLst/>
          </a:prstGeom>
          <a:noFill/>
          <a:ln>
            <a:noFill/>
          </a:ln>
        </p:spPr>
      </p:pic>
      <p:sp>
        <p:nvSpPr>
          <p:cNvPr id="682" name="Google Shape;682;p11"/>
          <p:cNvSpPr txBox="1">
            <a:spLocks noGrp="1"/>
          </p:cNvSpPr>
          <p:nvPr>
            <p:ph type="title"/>
          </p:nvPr>
        </p:nvSpPr>
        <p:spPr>
          <a:xfrm>
            <a:off x="508000" y="871555"/>
            <a:ext cx="10515600" cy="777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l" rtl="0">
              <a:lnSpc>
                <a:spcPct val="1081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latin typeface="Poppins" panose="00000500000000000000" pitchFamily="2" charset="0"/>
                <a:cs typeface="Poppins" panose="00000500000000000000" pitchFamily="2" charset="0"/>
              </a:rPr>
              <a:t>When You Deploy, It’s to Address a Challenge In-Country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683" name="Google Shape;683;p11"/>
          <p:cNvSpPr txBox="1">
            <a:spLocks noGrp="1"/>
          </p:cNvSpPr>
          <p:nvPr>
            <p:ph sz="half" idx="1"/>
          </p:nvPr>
        </p:nvSpPr>
        <p:spPr>
          <a:xfrm>
            <a:off x="508000" y="1903431"/>
            <a:ext cx="10515600" cy="4780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152400" lvl="0" indent="-152400" algn="l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Char char="•"/>
            </a:pPr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You’re expected to bring the following:</a:t>
            </a:r>
            <a:endParaRPr lang="en-US"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989965" lvl="1" indent="-380365" algn="l" rtl="0">
              <a:spcBef>
                <a:spcPts val="480"/>
              </a:spcBef>
              <a:spcAft>
                <a:spcPts val="0"/>
              </a:spcAft>
              <a:buSzPts val="2400"/>
              <a:buFont typeface="Noto Sans Symbols"/>
              <a:buChar char="▪"/>
            </a:pPr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Your brains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562100" lvl="2" indent="-342900" algn="l" rtl="0">
              <a:spcBef>
                <a:spcPts val="480"/>
              </a:spcBef>
              <a:spcAft>
                <a:spcPts val="0"/>
              </a:spcAft>
              <a:buSzPts val="2400"/>
              <a:buFont typeface="Courier New"/>
              <a:buChar char="o"/>
            </a:pPr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Formal education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562100" lvl="2" indent="-342900" algn="l" rtl="0">
              <a:spcBef>
                <a:spcPts val="480"/>
              </a:spcBef>
              <a:spcAft>
                <a:spcPts val="0"/>
              </a:spcAft>
              <a:buSzPts val="2400"/>
              <a:buFont typeface="Courier New"/>
              <a:buChar char="o"/>
            </a:pPr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Workplace experience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562100" lvl="2" indent="-342900" algn="l" rtl="0">
              <a:spcBef>
                <a:spcPts val="480"/>
              </a:spcBef>
              <a:spcAft>
                <a:spcPts val="0"/>
              </a:spcAft>
              <a:buSzPts val="2400"/>
              <a:buFont typeface="Courier New"/>
              <a:buChar char="o"/>
            </a:pPr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Judgment and reason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562100" lvl="2" indent="-342900" algn="l" rtl="0">
              <a:spcBef>
                <a:spcPts val="480"/>
              </a:spcBef>
              <a:spcAft>
                <a:spcPts val="0"/>
              </a:spcAft>
              <a:buSzPts val="2400"/>
              <a:buFont typeface="Courier New"/>
              <a:buChar char="o"/>
            </a:pPr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Emotional intelligence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562100" lvl="2" indent="-342900" algn="l" rtl="0">
              <a:spcBef>
                <a:spcPts val="480"/>
              </a:spcBef>
              <a:spcAft>
                <a:spcPts val="0"/>
              </a:spcAft>
              <a:buSzPts val="2400"/>
              <a:buFont typeface="Courier New"/>
              <a:buChar char="o"/>
            </a:pPr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Cultural competence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989965" lvl="1" indent="-380365" algn="l" rtl="0">
              <a:spcBef>
                <a:spcPts val="480"/>
              </a:spcBef>
              <a:spcAft>
                <a:spcPts val="0"/>
              </a:spcAft>
              <a:buSzPts val="2400"/>
              <a:buFont typeface="Noto Sans Symbols"/>
              <a:buChar char="▪"/>
            </a:pPr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Your passport and paperwork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989965" lvl="1" indent="-380365" algn="l" rtl="0">
              <a:spcBef>
                <a:spcPts val="480"/>
              </a:spcBef>
              <a:spcAft>
                <a:spcPts val="0"/>
              </a:spcAft>
              <a:buSzPts val="2400"/>
              <a:buFont typeface="Noto Sans Symbols"/>
              <a:buChar char="▪"/>
            </a:pPr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Your equipment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989965" lvl="1" indent="-380365" algn="l" rtl="0">
              <a:spcBef>
                <a:spcPts val="480"/>
              </a:spcBef>
              <a:spcAft>
                <a:spcPts val="0"/>
              </a:spcAft>
              <a:buSzPts val="2400"/>
              <a:buFont typeface="Noto Sans Symbols"/>
              <a:buChar char="▪"/>
            </a:pPr>
            <a:r>
              <a:rPr lang="en-US" sz="2400" dirty="0">
                <a:latin typeface="Poppins" panose="00000500000000000000" pitchFamily="2" charset="0"/>
                <a:cs typeface="Poppins" panose="00000500000000000000" pitchFamily="2" charset="0"/>
              </a:rPr>
              <a:t>Your humility and listening skills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6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8" name="Google Shape;688;p12" descr="human in yellow long-sleeved T-shirt walking beside white concrete wall"/>
          <p:cNvPicPr preferRelativeResize="0"/>
          <p:nvPr/>
        </p:nvPicPr>
        <p:blipFill rotWithShape="1">
          <a:blip r:embed="rId3">
            <a:alphaModFix/>
          </a:blip>
          <a:srcRect l="43705" t="68499" r="13546" b="1399"/>
          <a:stretch/>
        </p:blipFill>
        <p:spPr>
          <a:xfrm>
            <a:off x="8042323" y="1865993"/>
            <a:ext cx="3641677" cy="3846295"/>
          </a:xfrm>
          <a:prstGeom prst="rect">
            <a:avLst/>
          </a:prstGeom>
          <a:noFill/>
          <a:ln>
            <a:noFill/>
          </a:ln>
        </p:spPr>
      </p:pic>
      <p:sp>
        <p:nvSpPr>
          <p:cNvPr id="689" name="Google Shape;689;p12"/>
          <p:cNvSpPr txBox="1">
            <a:spLocks noGrp="1"/>
          </p:cNvSpPr>
          <p:nvPr>
            <p:ph type="title"/>
          </p:nvPr>
        </p:nvSpPr>
        <p:spPr>
          <a:xfrm>
            <a:off x="508000" y="1145712"/>
            <a:ext cx="10515600" cy="777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81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/>
              <a:t>Being a Deployer has Unique Challenges</a:t>
            </a:r>
            <a:endParaRPr/>
          </a:p>
        </p:txBody>
      </p:sp>
      <p:sp>
        <p:nvSpPr>
          <p:cNvPr id="690" name="Google Shape;690;p12"/>
          <p:cNvSpPr txBox="1">
            <a:spLocks noGrp="1"/>
          </p:cNvSpPr>
          <p:nvPr>
            <p:ph sz="half" idx="1"/>
          </p:nvPr>
        </p:nvSpPr>
        <p:spPr>
          <a:xfrm>
            <a:off x="508000" y="2177588"/>
            <a:ext cx="7041376" cy="4780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152400" lvl="0" indent="-152400" algn="l" rtl="0">
              <a:spcBef>
                <a:spcPts val="0"/>
              </a:spcBef>
              <a:spcAft>
                <a:spcPts val="0"/>
              </a:spcAft>
              <a:buSzPts val="2400"/>
              <a:buFont typeface="Arial"/>
              <a:buChar char="•"/>
            </a:pPr>
            <a:r>
              <a:rPr lang="en-US" sz="2400" dirty="0"/>
              <a:t>You may be asked to deploy virtually.</a:t>
            </a:r>
            <a:endParaRPr lang="en-US" dirty="0"/>
          </a:p>
          <a:p>
            <a:pPr marL="152400" lvl="0" indent="-152400" algn="l" rtl="0">
              <a:spcBef>
                <a:spcPts val="480"/>
              </a:spcBef>
              <a:spcAft>
                <a:spcPts val="0"/>
              </a:spcAft>
              <a:buSzPts val="2400"/>
              <a:buFont typeface="Arial"/>
              <a:buChar char="•"/>
            </a:pPr>
            <a:r>
              <a:rPr lang="en-US" sz="2400" dirty="0"/>
              <a:t>You’re the new kid on the block and may need to educate others on what you’re doing.</a:t>
            </a:r>
            <a:endParaRPr dirty="0"/>
          </a:p>
          <a:p>
            <a:pPr marL="152400" lvl="0" indent="-152400" algn="l" rtl="0">
              <a:spcBef>
                <a:spcPts val="480"/>
              </a:spcBef>
              <a:spcAft>
                <a:spcPts val="0"/>
              </a:spcAft>
              <a:buSzPts val="2400"/>
              <a:buFont typeface="Arial"/>
              <a:buChar char="•"/>
            </a:pPr>
            <a:r>
              <a:rPr lang="en-US" sz="2400" dirty="0"/>
              <a:t>There isn’t always a counterpart to you in the office or government.</a:t>
            </a:r>
            <a:endParaRPr dirty="0"/>
          </a:p>
          <a:p>
            <a:pPr marL="152400" lvl="0" indent="-152400" algn="l" rtl="0">
              <a:spcBef>
                <a:spcPts val="480"/>
              </a:spcBef>
              <a:spcAft>
                <a:spcPts val="0"/>
              </a:spcAft>
              <a:buSzPts val="2400"/>
              <a:buFont typeface="Arial"/>
              <a:buChar char="•"/>
            </a:pPr>
            <a:r>
              <a:rPr lang="en-US" sz="2400" dirty="0"/>
              <a:t>You may face cultural, political, and structural challenges to working within UNICEF, with WHO, US CDC, and Ministry of Health and other partner organizations.</a:t>
            </a:r>
            <a:endParaRPr sz="2400" dirty="0">
              <a:solidFill>
                <a:schemeClr val="lt1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Shape 6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5" name="Google Shape;695;p13"/>
          <p:cNvSpPr/>
          <p:nvPr/>
        </p:nvSpPr>
        <p:spPr>
          <a:xfrm>
            <a:off x="-1" y="0"/>
            <a:ext cx="12188952" cy="685800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696" name="Google Shape;696;p13" descr="red and white flower petals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-3047" y="10"/>
            <a:ext cx="12191999" cy="6857990"/>
          </a:xfrm>
          <a:prstGeom prst="rect">
            <a:avLst/>
          </a:prstGeom>
          <a:noFill/>
          <a:ln>
            <a:noFill/>
          </a:ln>
        </p:spPr>
      </p:pic>
      <p:sp>
        <p:nvSpPr>
          <p:cNvPr id="697" name="Google Shape;697;p13"/>
          <p:cNvSpPr/>
          <p:nvPr/>
        </p:nvSpPr>
        <p:spPr>
          <a:xfrm>
            <a:off x="0" y="2207602"/>
            <a:ext cx="12191999" cy="3162146"/>
          </a:xfrm>
          <a:prstGeom prst="rect">
            <a:avLst/>
          </a:prstGeom>
          <a:gradFill>
            <a:gsLst>
              <a:gs pos="0">
                <a:srgbClr val="000000">
                  <a:alpha val="0"/>
                </a:srgbClr>
              </a:gs>
              <a:gs pos="25000">
                <a:srgbClr val="000000">
                  <a:alpha val="14901"/>
                </a:srgbClr>
              </a:gs>
              <a:gs pos="50000">
                <a:srgbClr val="000000">
                  <a:alpha val="29803"/>
                </a:srgbClr>
              </a:gs>
              <a:gs pos="75000">
                <a:srgbClr val="000000">
                  <a:alpha val="14901"/>
                </a:srgbClr>
              </a:gs>
              <a:gs pos="100000">
                <a:srgbClr val="000000">
                  <a:alpha val="0"/>
                </a:srgbClr>
              </a:gs>
            </a:gsLst>
            <a:lin ang="162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Calibri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8" name="Google Shape;698;p13"/>
          <p:cNvSpPr txBox="1">
            <a:spLocks noGrp="1"/>
          </p:cNvSpPr>
          <p:nvPr>
            <p:ph type="title"/>
          </p:nvPr>
        </p:nvSpPr>
        <p:spPr>
          <a:xfrm>
            <a:off x="2291080" y="420208"/>
            <a:ext cx="7995920" cy="357477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srgbClr val="000000">
                <a:alpha val="40000"/>
              </a:srgbClr>
            </a:outerShdw>
          </a:effectLst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5200"/>
              <a:buFont typeface="Calibri"/>
              <a:buNone/>
            </a:pPr>
            <a:r>
              <a:rPr lang="en-US" sz="5200" b="1" dirty="0">
                <a:solidFill>
                  <a:srgbClr val="FFFFFF"/>
                </a:solidFill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Enter COVID-19.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7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3" name="Google Shape;703;p14"/>
          <p:cNvSpPr txBox="1"/>
          <p:nvPr/>
        </p:nvSpPr>
        <p:spPr>
          <a:xfrm>
            <a:off x="5765800" y="1267679"/>
            <a:ext cx="5366871" cy="52629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68F"/>
              </a:buClr>
              <a:buSzPts val="2400"/>
              <a:buFont typeface="Noto Sans Symbols"/>
              <a:buChar char="▪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A lot of noise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68F"/>
              </a:buClr>
              <a:buSzPts val="2400"/>
              <a:buFont typeface="Noto Sans Symbols"/>
              <a:buChar char="▪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Difficult to sift out important information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68F"/>
              </a:buClr>
              <a:buSzPts val="2400"/>
              <a:buFont typeface="Noto Sans Symbols"/>
              <a:buChar char="▪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Competing prioritie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68F"/>
              </a:buClr>
              <a:buSzPts val="2400"/>
              <a:buFont typeface="Noto Sans Symbols"/>
              <a:buChar char="▪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Differing lines of communication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68F"/>
              </a:buClr>
              <a:buSzPts val="2400"/>
              <a:buFont typeface="Noto Sans Symbols"/>
              <a:buChar char="▪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Unclear lines of authority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68F"/>
              </a:buClr>
              <a:buSzPts val="2400"/>
              <a:buFont typeface="Noto Sans Symbols"/>
              <a:buChar char="▪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Everything is urgent and important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68F"/>
              </a:buClr>
              <a:buSzPts val="2400"/>
              <a:buFont typeface="Noto Sans Symbols"/>
              <a:buChar char="▪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Not enough staff and time to accomplish objectives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68F"/>
              </a:buClr>
              <a:buSzPts val="2400"/>
              <a:buFont typeface="Noto Sans Symbols"/>
              <a:buChar char="▪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Frequent staff turnover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marL="380990" marR="0" lvl="0" indent="-3809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68F"/>
              </a:buClr>
              <a:buSzPts val="2400"/>
              <a:buFont typeface="Noto Sans Symbols"/>
              <a:buChar char="▪"/>
              <a:tabLst/>
              <a:defRPr/>
            </a:pPr>
            <a:r>
              <a:rPr kumimoji="0" lang="en-US" sz="2400" b="0" i="0" u="none" strike="noStrike" kern="0" cap="none" spc="0" normalizeH="0" baseline="0" noProof="0" dirty="0">
                <a:ln>
                  <a:noFill/>
                </a:ln>
                <a:solidFill>
                  <a:srgbClr val="2D2D2D"/>
                </a:solidFill>
                <a:effectLst/>
                <a:uLnTx/>
                <a:uFillTx/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Data of uncertain provenance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  <a:sym typeface="Arial"/>
            </a:endParaRPr>
          </a:p>
          <a:p>
            <a:pPr marL="380990" marR="0" lvl="0" indent="-22859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7468F"/>
              </a:buClr>
              <a:buSzPts val="2400"/>
              <a:buFont typeface="Noto Sans Symbols"/>
              <a:buNone/>
              <a:tabLst/>
              <a:defRPr/>
            </a:pPr>
            <a:endParaRPr kumimoji="0" sz="2400" b="0" i="0" u="none" strike="noStrike" kern="0" cap="none" spc="0" normalizeH="0" baseline="0" noProof="0" dirty="0">
              <a:ln>
                <a:noFill/>
              </a:ln>
              <a:solidFill>
                <a:srgbClr val="080808"/>
              </a:solidFill>
              <a:effectLst/>
              <a:uLnTx/>
              <a:uFillTx/>
              <a:latin typeface="Poppins" panose="00000500000000000000" pitchFamily="2" charset="0"/>
              <a:ea typeface="Calibri"/>
              <a:cs typeface="Poppins" panose="00000500000000000000" pitchFamily="2" charset="0"/>
              <a:sym typeface="Calibri"/>
            </a:endParaRPr>
          </a:p>
        </p:txBody>
      </p:sp>
      <p:pic>
        <p:nvPicPr>
          <p:cNvPr id="704" name="Google Shape;704;p14" descr="A person taking a selfie in a room&#10;&#10;Description automatically generated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88572" y="1267679"/>
            <a:ext cx="4612557" cy="4612557"/>
          </a:xfrm>
          <a:prstGeom prst="rect">
            <a:avLst/>
          </a:prstGeom>
          <a:noFill/>
          <a:ln>
            <a:noFill/>
          </a:ln>
        </p:spPr>
      </p:pic>
      <p:sp>
        <p:nvSpPr>
          <p:cNvPr id="705" name="Google Shape;705;p14"/>
          <p:cNvSpPr txBox="1">
            <a:spLocks noGrp="1"/>
          </p:cNvSpPr>
          <p:nvPr>
            <p:ph type="title"/>
          </p:nvPr>
        </p:nvSpPr>
        <p:spPr>
          <a:xfrm>
            <a:off x="508000" y="199889"/>
            <a:ext cx="11684000" cy="777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81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200" dirty="0">
                <a:latin typeface="Poppins" panose="00000500000000000000" pitchFamily="2" charset="0"/>
                <a:cs typeface="Poppins" panose="00000500000000000000" pitchFamily="2" charset="0"/>
              </a:rPr>
              <a:t>What Emergency Response Sounds and Feels Like</a:t>
            </a:r>
            <a:endParaRPr sz="3200"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7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6" name="Google Shape;716;p16"/>
          <p:cNvSpPr txBox="1">
            <a:spLocks noGrp="1"/>
          </p:cNvSpPr>
          <p:nvPr>
            <p:ph type="title"/>
          </p:nvPr>
        </p:nvSpPr>
        <p:spPr>
          <a:xfrm>
            <a:off x="3479230" y="532896"/>
            <a:ext cx="8572499" cy="473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81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600" dirty="0"/>
              <a:t>5 Tips for a Successful Deployment</a:t>
            </a:r>
          </a:p>
        </p:txBody>
      </p:sp>
      <p:pic>
        <p:nvPicPr>
          <p:cNvPr id="717" name="Google Shape;717;p16" descr="Paper planes formed a triangle with one yellow paper plane on top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479230" y="1270735"/>
            <a:ext cx="8240702" cy="465056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7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2" name="Google Shape;722;p17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l" rtl="0">
              <a:lnSpc>
                <a:spcPct val="1081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3700" dirty="0"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1. Make Yourself </a:t>
            </a:r>
            <a:r>
              <a:rPr lang="en-US" sz="3700" dirty="0">
                <a:solidFill>
                  <a:srgbClr val="0B81D5"/>
                </a:solidFill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Useful Quickly</a:t>
            </a:r>
            <a:endParaRPr dirty="0">
              <a:solidFill>
                <a:srgbClr val="0B81D5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723" name="Google Shape;723;p17"/>
          <p:cNvSpPr txBox="1">
            <a:spLocks noGrp="1"/>
          </p:cNvSpPr>
          <p:nvPr>
            <p:ph sz="half" idx="1"/>
          </p:nvPr>
        </p:nvSpPr>
        <p:spPr>
          <a:xfrm>
            <a:off x="508000" y="1397002"/>
            <a:ext cx="7442820" cy="47804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650"/>
              <a:buNone/>
            </a:pPr>
            <a:r>
              <a:rPr lang="en-US" sz="2650" dirty="0"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Everyone is taking time out of their day to help you get up to speed. Return the favor and roll up your sleeves.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spcBef>
                <a:spcPts val="100"/>
              </a:spcBef>
              <a:spcAft>
                <a:spcPts val="0"/>
              </a:spcAft>
              <a:buSzPts val="2667"/>
              <a:buNone/>
            </a:pP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spcBef>
                <a:spcPts val="100"/>
              </a:spcBef>
              <a:spcAft>
                <a:spcPts val="0"/>
              </a:spcAft>
              <a:buSzPts val="2650"/>
              <a:buNone/>
            </a:pPr>
            <a:r>
              <a:rPr lang="en-US" sz="2650" dirty="0"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Have early discussions with your team to understand your role and expectations of you. Prepare accordingly and be proactive in developing clear shared goals.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spcBef>
                <a:spcPts val="100"/>
              </a:spcBef>
              <a:spcAft>
                <a:spcPts val="0"/>
              </a:spcAft>
              <a:buSzPts val="2667"/>
              <a:buNone/>
            </a:pP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lvl="0" indent="0" algn="l" rtl="0">
              <a:spcBef>
                <a:spcPts val="100"/>
              </a:spcBef>
              <a:spcAft>
                <a:spcPts val="0"/>
              </a:spcAft>
              <a:buSzPts val="2650"/>
              <a:buNone/>
            </a:pPr>
            <a:r>
              <a:rPr lang="en-US" sz="2650" dirty="0">
                <a:latin typeface="Poppins" panose="00000500000000000000" pitchFamily="2" charset="0"/>
                <a:ea typeface="Calibri"/>
                <a:cs typeface="Poppins" panose="00000500000000000000" pitchFamily="2" charset="0"/>
                <a:sym typeface="Calibri"/>
              </a:rPr>
              <a:t>Deliver quick wins!</a:t>
            </a:r>
            <a:endParaRPr dirty="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724" name="Google Shape;724;p17" descr="Two women, one in glasses and blazer, talking in business office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315424" y="1545167"/>
            <a:ext cx="3367351" cy="315271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Shape 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" name="Google Shape;729;p18"/>
          <p:cNvSpPr txBox="1">
            <a:spLocks noGrp="1"/>
          </p:cNvSpPr>
          <p:nvPr>
            <p:ph type="title"/>
          </p:nvPr>
        </p:nvSpPr>
        <p:spPr>
          <a:xfrm>
            <a:off x="456910" y="1134560"/>
            <a:ext cx="10515600" cy="7778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 fontScale="90000"/>
          </a:bodyPr>
          <a:lstStyle/>
          <a:p>
            <a:pPr marL="0" lvl="0" indent="0" algn="l" rtl="0">
              <a:lnSpc>
                <a:spcPct val="108108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2. If You Offer Critical Feedback to a Problem, </a:t>
            </a:r>
            <a:r>
              <a:rPr lang="en-US" dirty="0">
                <a:solidFill>
                  <a:srgbClr val="0B81D5"/>
                </a:solidFill>
              </a:rPr>
              <a:t>Be</a:t>
            </a:r>
            <a:r>
              <a:rPr lang="en-US" dirty="0"/>
              <a:t> </a:t>
            </a:r>
            <a:r>
              <a:rPr lang="en-US" dirty="0">
                <a:solidFill>
                  <a:srgbClr val="0B81D5"/>
                </a:solidFill>
              </a:rPr>
              <a:t>Prepared to Fix It</a:t>
            </a:r>
            <a:endParaRPr dirty="0">
              <a:solidFill>
                <a:srgbClr val="0B81D5"/>
              </a:solidFill>
            </a:endParaRPr>
          </a:p>
        </p:txBody>
      </p:sp>
      <p:sp>
        <p:nvSpPr>
          <p:cNvPr id="730" name="Google Shape;730;p18"/>
          <p:cNvSpPr txBox="1">
            <a:spLocks noGrp="1"/>
          </p:cNvSpPr>
          <p:nvPr>
            <p:ph sz="half" idx="1"/>
          </p:nvPr>
        </p:nvSpPr>
        <p:spPr>
          <a:xfrm>
            <a:off x="5594966" y="2488047"/>
            <a:ext cx="4929129" cy="40819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2600"/>
              <a:buNone/>
            </a:pPr>
            <a:r>
              <a:rPr lang="en-US" dirty="0"/>
              <a:t>Telling someone they have a problem doesn’t actually solve the problem. You just added another problem to their plate. </a:t>
            </a:r>
            <a:endParaRPr dirty="0"/>
          </a:p>
          <a:p>
            <a:pPr marL="0" lvl="0" indent="0" algn="l" rtl="0">
              <a:spcBef>
                <a:spcPts val="533"/>
              </a:spcBef>
              <a:spcAft>
                <a:spcPts val="0"/>
              </a:spcAft>
              <a:buSzPts val="2667"/>
              <a:buNone/>
            </a:pPr>
            <a:endParaRPr dirty="0"/>
          </a:p>
          <a:p>
            <a:pPr marL="0" lvl="0" indent="0" algn="l" rtl="0">
              <a:spcBef>
                <a:spcPts val="520"/>
              </a:spcBef>
              <a:spcAft>
                <a:spcPts val="0"/>
              </a:spcAft>
              <a:buSzPts val="2600"/>
              <a:buNone/>
            </a:pPr>
            <a:r>
              <a:rPr lang="en-US" dirty="0"/>
              <a:t>Come with several solutions.</a:t>
            </a:r>
            <a:endParaRPr dirty="0"/>
          </a:p>
          <a:p>
            <a:pPr marL="0" lvl="0" indent="0" algn="l" rtl="0">
              <a:spcBef>
                <a:spcPts val="533"/>
              </a:spcBef>
              <a:spcAft>
                <a:spcPts val="0"/>
              </a:spcAft>
              <a:buSzPts val="2667"/>
              <a:buNone/>
            </a:pPr>
            <a:endParaRPr i="1" dirty="0"/>
          </a:p>
        </p:txBody>
      </p:sp>
      <p:pic>
        <p:nvPicPr>
          <p:cNvPr id="731" name="Google Shape;731;p18" descr="A colorful pile of yarn turned into a yellow yarn light bulb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2488047"/>
            <a:ext cx="5518689" cy="367822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comp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mp" id="{ED283507-022C-4AFB-8DB8-6A65F288318D}" vid="{C92EE467-3FFC-4B1E-B56A-E5440EA1A7C1}"/>
    </a:ext>
  </a:extLst>
</a:theme>
</file>

<file path=ppt/theme/theme2.xml><?xml version="1.0" encoding="utf-8"?>
<a:theme xmlns:a="http://schemas.openxmlformats.org/drawingml/2006/main" name="comp training ppt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mp training ppt theme" id="{38E2F2EF-C4AB-4166-AC88-AF211F03C7E1}" vid="{7421EA10-7307-4866-8A4B-942296AE7893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54953F10EBE54AA9544274D1AD07B2" ma:contentTypeVersion="10" ma:contentTypeDescription="Create a new document." ma:contentTypeScope="" ma:versionID="4c80a66962d5eba98ec31b375e2abdc1">
  <xsd:schema xmlns:xsd="http://www.w3.org/2001/XMLSchema" xmlns:xs="http://www.w3.org/2001/XMLSchema" xmlns:p="http://schemas.microsoft.com/office/2006/metadata/properties" xmlns:ns2="cc024c5f-7184-4090-9581-f5576fdda2c4" xmlns:ns3="864ae89e-7bd6-489b-bb60-96ad963c73cc" targetNamespace="http://schemas.microsoft.com/office/2006/metadata/properties" ma:root="true" ma:fieldsID="9bc2e6e2c6e0b320b3f15d5a48c81aa9" ns2:_="" ns3:_="">
    <xsd:import namespace="cc024c5f-7184-4090-9581-f5576fdda2c4"/>
    <xsd:import namespace="864ae89e-7bd6-489b-bb60-96ad963c73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024c5f-7184-4090-9581-f5576fdda2c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4ae89e-7bd6-489b-bb60-96ad963c73c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1E6B7BC-DCB7-4815-A4F0-F70A44F93AA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9FB36D6-4507-4958-98D6-89DD331957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024c5f-7184-4090-9581-f5576fdda2c4"/>
    <ds:schemaRef ds:uri="864ae89e-7bd6-489b-bb60-96ad963c73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2A60AE8-AF27-4E8F-99EC-3A64FF999B2B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omp</Template>
  <TotalTime>35</TotalTime>
  <Words>661</Words>
  <Application>Microsoft Office PowerPoint</Application>
  <PresentationFormat>Widescreen</PresentationFormat>
  <Paragraphs>71</Paragraphs>
  <Slides>13</Slides>
  <Notes>1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3</vt:i4>
      </vt:variant>
    </vt:vector>
  </HeadingPairs>
  <TitlesOfParts>
    <vt:vector size="15" baseType="lpstr">
      <vt:lpstr>comp</vt:lpstr>
      <vt:lpstr>comp training ppt theme</vt:lpstr>
      <vt:lpstr>Comprehensive training  </vt:lpstr>
      <vt:lpstr>Get deployed and get useful</vt:lpstr>
      <vt:lpstr>When You Deploy, It’s to Address a Challenge In-Country</vt:lpstr>
      <vt:lpstr>Being a Deployer has Unique Challenges</vt:lpstr>
      <vt:lpstr>Enter COVID-19.</vt:lpstr>
      <vt:lpstr>What Emergency Response Sounds and Feels Like</vt:lpstr>
      <vt:lpstr>5 Tips for a Successful Deployment</vt:lpstr>
      <vt:lpstr>1. Make Yourself Useful Quickly</vt:lpstr>
      <vt:lpstr>2. If You Offer Critical Feedback to a Problem, Be Prepared to Fix It</vt:lpstr>
      <vt:lpstr>3. Question Your Assumptions About the Population You’re Serving</vt:lpstr>
      <vt:lpstr>4. Give Everyone the Benefit of the Doubt</vt:lpstr>
      <vt:lpstr>5. Be Concrete and Realistic in What Demand Strategies to Pursue</vt:lpstr>
      <vt:lpstr>Discussion (15 minutes)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 Deployed and Get Useful!   Advice for deployers supporting vaccine demand</dc:title>
  <dc:creator>Wilhelm, Elisabeth (CDC/DDPHSIS/CGH/GID)</dc:creator>
  <cp:lastModifiedBy>Crystal Bruce</cp:lastModifiedBy>
  <cp:revision>27</cp:revision>
  <dcterms:created xsi:type="dcterms:W3CDTF">2022-04-12T16:08:32Z</dcterms:created>
  <dcterms:modified xsi:type="dcterms:W3CDTF">2022-07-21T17:23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b94a7b8-f06c-4dfe-bdcc-9b548fd58c31_Enabled">
    <vt:lpwstr>true</vt:lpwstr>
  </property>
  <property fmtid="{D5CDD505-2E9C-101B-9397-08002B2CF9AE}" pid="3" name="MSIP_Label_7b94a7b8-f06c-4dfe-bdcc-9b548fd58c31_SetDate">
    <vt:lpwstr>2022-04-12T16:15:16Z</vt:lpwstr>
  </property>
  <property fmtid="{D5CDD505-2E9C-101B-9397-08002B2CF9AE}" pid="4" name="MSIP_Label_7b94a7b8-f06c-4dfe-bdcc-9b548fd58c31_Method">
    <vt:lpwstr>Privileged</vt:lpwstr>
  </property>
  <property fmtid="{D5CDD505-2E9C-101B-9397-08002B2CF9AE}" pid="5" name="MSIP_Label_7b94a7b8-f06c-4dfe-bdcc-9b548fd58c31_Name">
    <vt:lpwstr>7b94a7b8-f06c-4dfe-bdcc-9b548fd58c31</vt:lpwstr>
  </property>
  <property fmtid="{D5CDD505-2E9C-101B-9397-08002B2CF9AE}" pid="6" name="MSIP_Label_7b94a7b8-f06c-4dfe-bdcc-9b548fd58c31_SiteId">
    <vt:lpwstr>9ce70869-60db-44fd-abe8-d2767077fc8f</vt:lpwstr>
  </property>
  <property fmtid="{D5CDD505-2E9C-101B-9397-08002B2CF9AE}" pid="7" name="MSIP_Label_7b94a7b8-f06c-4dfe-bdcc-9b548fd58c31_ActionId">
    <vt:lpwstr>ce8a21aa-2ae7-4e7a-89b4-abcc14f7c2c1</vt:lpwstr>
  </property>
  <property fmtid="{D5CDD505-2E9C-101B-9397-08002B2CF9AE}" pid="8" name="MSIP_Label_7b94a7b8-f06c-4dfe-bdcc-9b548fd58c31_ContentBits">
    <vt:lpwstr>0</vt:lpwstr>
  </property>
  <property fmtid="{D5CDD505-2E9C-101B-9397-08002B2CF9AE}" pid="9" name="ContentTypeId">
    <vt:lpwstr>0x0101009D54953F10EBE54AA9544274D1AD07B2</vt:lpwstr>
  </property>
</Properties>
</file>